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34_BDF82308.xml" ContentType="application/vnd.ms-powerpoint.comments+xml"/>
  <Override PartName="/ppt/notesSlides/notesSlide9.xml" ContentType="application/vnd.openxmlformats-officedocument.presentationml.notesSlide+xml"/>
  <Override PartName="/ppt/comments/modernComment_13E_3E7EB0F7.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7" r:id="rId1"/>
  </p:sldMasterIdLst>
  <p:notesMasterIdLst>
    <p:notesMasterId r:id="rId18"/>
  </p:notesMasterIdLst>
  <p:sldIdLst>
    <p:sldId id="273" r:id="rId2"/>
    <p:sldId id="261" r:id="rId3"/>
    <p:sldId id="295" r:id="rId4"/>
    <p:sldId id="931" r:id="rId5"/>
    <p:sldId id="301" r:id="rId6"/>
    <p:sldId id="322" r:id="rId7"/>
    <p:sldId id="306" r:id="rId8"/>
    <p:sldId id="319" r:id="rId9"/>
    <p:sldId id="308" r:id="rId10"/>
    <p:sldId id="314" r:id="rId11"/>
    <p:sldId id="318" r:id="rId12"/>
    <p:sldId id="321" r:id="rId13"/>
    <p:sldId id="327" r:id="rId14"/>
    <p:sldId id="328" r:id="rId15"/>
    <p:sldId id="297" r:id="rId16"/>
    <p:sldId id="29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3A9C21-9933-8A4E-DEE0-14C6BDBE41A6}" name="Steuernagle, Hannah" initials="SH" userId="S::hsteuernagle@deloitte.com::600c4070-3018-409c-9c0a-31edcdb459fe" providerId="AD"/>
  <p188:author id="{483D1A47-7456-0022-423D-2B8271BD76FF}" name="Palme, Rome" initials="PR" userId="S::rompalme@deloitte.com::e16ba138-c1ff-461a-b686-ee84b3fbb47a" providerId="AD"/>
  <p188:author id="{D4ACE29E-750B-B964-C09B-160571476F75}" name="Newswanger, Reagan" initials="NR" userId="S::rnewswanger@deloitte.com::6fbb71ec-b2de-4bc3-9863-30038c19fa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80"/>
    <a:srgbClr val="8EBE6E"/>
    <a:srgbClr val="5BA3D4"/>
    <a:srgbClr val="004F59"/>
    <a:srgbClr val="E6E6E6"/>
    <a:srgbClr val="C4D600"/>
    <a:srgbClr val="0097A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C6923B-DAF5-4C57-980E-17976E4881AB}" v="77" dt="2024-01-18T14:48:30.578"/>
    <p1510:client id="{6E63AC1C-5DEE-453E-A624-519307AA7B6F}" v="76" dt="2024-01-18T14:54:05.871"/>
    <p1510:client id="{E1EA9AD5-95B8-4F37-9743-56232E3F2005}" v="697" dt="2024-01-18T18:11:40.9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omments/modernComment_134_BDF82308.xml><?xml version="1.0" encoding="utf-8"?>
<p188:cmLst xmlns:a="http://schemas.openxmlformats.org/drawingml/2006/main" xmlns:r="http://schemas.openxmlformats.org/officeDocument/2006/relationships" xmlns:p188="http://schemas.microsoft.com/office/powerpoint/2018/8/main">
  <p188:cm id="{B074E04D-1603-4AFC-8FE2-1D44BC3E84CC}" authorId="{313A9C21-9933-8A4E-DEE0-14C6BDBE41A6}" created="2024-01-12T21:57:31.009">
    <ac:txMkLst xmlns:ac="http://schemas.microsoft.com/office/drawing/2013/main/command">
      <pc:docMk xmlns:pc="http://schemas.microsoft.com/office/powerpoint/2013/main/command"/>
      <pc:sldMk xmlns:pc="http://schemas.microsoft.com/office/powerpoint/2013/main/command" cId="3187155720" sldId="308"/>
      <ac:spMk id="2" creationId="{ADA94CA8-E7B8-8516-BF65-7B8FD4E10FDE}"/>
      <ac:txMk cp="0" len="4">
        <ac:context len="50" hash="2870897654"/>
      </ac:txMk>
    </ac:txMkLst>
    <p188:pos x="1775192" y="-541062"/>
    <p188:txBody>
      <a:bodyPr/>
      <a:lstStyle/>
      <a:p>
        <a:r>
          <a:rPr lang="en-US"/>
          <a:t>New word</a:t>
        </a:r>
      </a:p>
    </p188:txBody>
  </p188:cm>
</p188:cmLst>
</file>

<file path=ppt/comments/modernComment_13E_3E7EB0F7.xml><?xml version="1.0" encoding="utf-8"?>
<p188:cmLst xmlns:a="http://schemas.openxmlformats.org/drawingml/2006/main" xmlns:r="http://schemas.openxmlformats.org/officeDocument/2006/relationships" xmlns:p188="http://schemas.microsoft.com/office/powerpoint/2018/8/main">
  <p188:cm id="{9A23C1E3-06F1-488D-A536-60DD1D4755AA}" authorId="{313A9C21-9933-8A4E-DEE0-14C6BDBE41A6}" created="2024-01-12T22:08:06.168">
    <pc:sldMkLst xmlns:pc="http://schemas.microsoft.com/office/powerpoint/2013/main/command">
      <pc:docMk/>
      <pc:sldMk cId="1048490231" sldId="318"/>
    </pc:sldMkLst>
    <p188:replyLst>
      <p188:reply id="{F0BA7FA6-CE3B-49B8-898F-0FA00E370955}" authorId="{313A9C21-9933-8A4E-DEE0-14C6BDBE41A6}" created="2024-01-12T22:08:14.367">
        <p188:txBody>
          <a:bodyPr/>
          <a:lstStyle/>
          <a:p>
            <a:r>
              <a:rPr lang="en-US"/>
              <a:t>[@Palme, Rome]</a:t>
            </a:r>
          </a:p>
        </p188:txBody>
      </p188:reply>
    </p188:replyLst>
    <p188:txBody>
      <a:bodyPr/>
      <a:lstStyle/>
      <a:p>
        <a:r>
          <a:rPr lang="en-US"/>
          <a:t>Flip in notebook</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C441EF-8D76-4D0A-A68E-3123469993D1}" type="datetimeFigureOut">
              <a:rPr lang="en-US" smtClean="0"/>
              <a:t>1/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0D120A-0DBE-441B-A728-07EEFFD2141F}" type="slidenum">
              <a:rPr lang="en-US" smtClean="0"/>
              <a:t>‹#›</a:t>
            </a:fld>
            <a:endParaRPr lang="en-US"/>
          </a:p>
        </p:txBody>
      </p:sp>
    </p:spTree>
    <p:extLst>
      <p:ext uri="{BB962C8B-B14F-4D97-AF65-F5344CB8AC3E}">
        <p14:creationId xmlns:p14="http://schemas.microsoft.com/office/powerpoint/2010/main" val="2251958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1725923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redit History Impact:</a:t>
            </a:r>
          </a:p>
          <a:p>
            <a:r>
              <a:rPr lang="en-US"/>
              <a:t>Our analysis indicates a significant correlation between credit history and loan approval. Customers with a good credit history are more likely to receive approval, whereas those with a bad credit history face higher rejection rates. To quantify this, we can present the same information as a percentage, offering a clearer understanding of the impact of credit history on loan approval rates.</a:t>
            </a:r>
          </a:p>
          <a:p>
            <a:endParaRPr lang="en-US"/>
          </a:p>
          <a:p>
            <a:r>
              <a:rPr lang="en-US" b="1"/>
              <a:t>Property Area Influence </a:t>
            </a:r>
          </a:p>
          <a:p>
            <a:r>
              <a:rPr lang="en-US"/>
              <a:t>Geographic location plays a role in loan approval, with semi-urban areas showing a higher likelihood of success. On the other hand, customers in rural areas are more likely to face rejection. This insight can guide the company's marketing and targeting strategies, ensuring a more precise approach to potential clients based on their property area.</a:t>
            </a:r>
          </a:p>
          <a:p>
            <a:endParaRPr lang="en-US"/>
          </a:p>
          <a:p>
            <a:r>
              <a:rPr lang="en-US" b="1"/>
              <a:t>Loan Amount Term Analysis:</a:t>
            </a:r>
          </a:p>
          <a:p>
            <a:r>
              <a:rPr lang="en-US"/>
              <a:t>Loan amount terms, specifically the standard term of 360 months, exhibit the highest likelihood of approval. Understanding the preferred loan terms of approved applicants allows the company to align its offerings with customer preferences, potentially increasing approval rates.</a:t>
            </a:r>
          </a:p>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12</a:t>
            </a:fld>
            <a:endParaRPr lang="en-US"/>
          </a:p>
        </p:txBody>
      </p:sp>
    </p:spTree>
    <p:extLst>
      <p:ext uri="{BB962C8B-B14F-4D97-AF65-F5344CB8AC3E}">
        <p14:creationId xmlns:p14="http://schemas.microsoft.com/office/powerpoint/2010/main" val="2038003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redit History Impact:</a:t>
            </a:r>
          </a:p>
          <a:p>
            <a:r>
              <a:rPr lang="en-US"/>
              <a:t>Our analysis indicates a significant correlation between credit history and loan approval. Customers with a good credit history are more likely to receive approval, whereas those with a bad credit history face higher rejection rates. To quantify this, we can present the same information as a percentage, offering a clearer understanding of the impact of credit history on loan approval rates.</a:t>
            </a:r>
          </a:p>
          <a:p>
            <a:endParaRPr lang="en-US"/>
          </a:p>
          <a:p>
            <a:r>
              <a:rPr lang="en-US" b="1"/>
              <a:t>Property Area Influence </a:t>
            </a:r>
          </a:p>
          <a:p>
            <a:r>
              <a:rPr lang="en-US"/>
              <a:t>Geographic location plays a role in loan approval, with semi-urban areas showing a higher likelihood of success. On the other hand, customers in rural areas are more likely to face rejection. This insight can guide the company's marketing and targeting strategies, ensuring a more precise approach to potential clients based on their property area.</a:t>
            </a:r>
          </a:p>
          <a:p>
            <a:endParaRPr lang="en-US"/>
          </a:p>
          <a:p>
            <a:r>
              <a:rPr lang="en-US" b="1"/>
              <a:t>Loan Amount Term Analysis:</a:t>
            </a:r>
          </a:p>
          <a:p>
            <a:r>
              <a:rPr lang="en-US"/>
              <a:t>Loan amount terms, specifically the standard term of 360 months, exhibit the highest likelihood of approval. Understanding the preferred loan terms of approved applicants allows the company to align its offerings with customer preferences, potentially increasing approval rates.</a:t>
            </a:r>
          </a:p>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13</a:t>
            </a:fld>
            <a:endParaRPr lang="en-US"/>
          </a:p>
        </p:txBody>
      </p:sp>
    </p:spTree>
    <p:extLst>
      <p:ext uri="{BB962C8B-B14F-4D97-AF65-F5344CB8AC3E}">
        <p14:creationId xmlns:p14="http://schemas.microsoft.com/office/powerpoint/2010/main" val="1503572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redit History Impact:</a:t>
            </a:r>
          </a:p>
          <a:p>
            <a:r>
              <a:rPr lang="en-US"/>
              <a:t>Our analysis indicates a significant correlation between credit history and loan approval. Customers with a good credit history are more likely to receive approval, whereas those with a bad credit history face higher rejection rates. To quantify this, we can present the same information as a percentage, offering a clearer understanding of the impact of credit history on loan approval rates.</a:t>
            </a:r>
          </a:p>
          <a:p>
            <a:endParaRPr lang="en-US"/>
          </a:p>
          <a:p>
            <a:r>
              <a:rPr lang="en-US" b="1"/>
              <a:t>Property Area Influence </a:t>
            </a:r>
          </a:p>
          <a:p>
            <a:r>
              <a:rPr lang="en-US"/>
              <a:t>Geographic location plays a role in loan approval, with semi-urban areas showing a higher likelihood of success. On the other hand, customers in rural areas are more likely to face rejection. This insight can guide the company's marketing and targeting strategies, ensuring a more precise approach to potential clients based on their property area.</a:t>
            </a:r>
          </a:p>
          <a:p>
            <a:endParaRPr lang="en-US"/>
          </a:p>
          <a:p>
            <a:r>
              <a:rPr lang="en-US" b="1"/>
              <a:t>Loan Amount Term Analysis:</a:t>
            </a:r>
          </a:p>
          <a:p>
            <a:r>
              <a:rPr lang="en-US"/>
              <a:t>Loan amount terms, specifically the standard term of 360 months, exhibit the highest likelihood of approval. Understanding the preferred loan terms of approved applicants allows the company to align its offerings with customer preferences, potentially increasing approval rates.</a:t>
            </a:r>
          </a:p>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14</a:t>
            </a:fld>
            <a:endParaRPr lang="en-US"/>
          </a:p>
        </p:txBody>
      </p:sp>
    </p:spTree>
    <p:extLst>
      <p:ext uri="{BB962C8B-B14F-4D97-AF65-F5344CB8AC3E}">
        <p14:creationId xmlns:p14="http://schemas.microsoft.com/office/powerpoint/2010/main" val="4214244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conclusion, our analysis not only streamlines the loan approval process but also provides actionable recommendations to enhance Dream Housing Finance Company's operations. By leveraging these insights, the company can significantly improve its precision in identifying eligible customers, reduce processing times, and strategically position itself in the competitive loan market.</a:t>
            </a:r>
          </a:p>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15</a:t>
            </a:fld>
            <a:endParaRPr lang="en-US"/>
          </a:p>
        </p:txBody>
      </p:sp>
    </p:spTree>
    <p:extLst>
      <p:ext uri="{BB962C8B-B14F-4D97-AF65-F5344CB8AC3E}">
        <p14:creationId xmlns:p14="http://schemas.microsoft.com/office/powerpoint/2010/main" val="2482514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45A3057-B380-47D6-996D-223CF9A90B5B}" type="slidenum">
              <a:rPr lang="en-US"/>
              <a:t>16</a:t>
            </a:fld>
            <a:endParaRPr lang="en-US"/>
          </a:p>
        </p:txBody>
      </p:sp>
    </p:spTree>
    <p:extLst>
      <p:ext uri="{BB962C8B-B14F-4D97-AF65-F5344CB8AC3E}">
        <p14:creationId xmlns:p14="http://schemas.microsoft.com/office/powerpoint/2010/main" val="835813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Business Problem:</a:t>
            </a:r>
          </a:p>
          <a:p>
            <a:pPr marL="171450" indent="-171450">
              <a:buFont typeface="Arial" panose="020B0604020202020204" pitchFamily="34" charset="0"/>
              <a:buChar char="•"/>
            </a:pPr>
            <a:r>
              <a:rPr lang="en-US"/>
              <a:t>Dream Housing Finance Company deals in all kinds of home loans across many different areas such as urban, semi urban, and rural</a:t>
            </a:r>
          </a:p>
          <a:p>
            <a:pPr marL="171450" indent="-171450">
              <a:buFont typeface="Arial" panose="020B0604020202020204" pitchFamily="34" charset="0"/>
              <a:buChar char="•"/>
            </a:pPr>
            <a:r>
              <a:rPr lang="en-US"/>
              <a:t>Currently they are not able to automatically review loans in order to conclude eligibility based on customer online inputs </a:t>
            </a:r>
          </a:p>
          <a:p>
            <a:pPr marL="0" indent="0">
              <a:buFont typeface="Arial" panose="020B0604020202020204" pitchFamily="34" charset="0"/>
              <a:buNone/>
            </a:pPr>
            <a:r>
              <a:rPr lang="en-US"/>
              <a:t>Business Solution: </a:t>
            </a:r>
          </a:p>
          <a:p>
            <a:pPr marL="171450" indent="-171450">
              <a:buFont typeface="Arial" panose="020B0604020202020204" pitchFamily="34" charset="0"/>
              <a:buChar char="•"/>
            </a:pPr>
            <a:r>
              <a:rPr lang="en-US"/>
              <a:t>After our solution is implemented Dream Housing will be able to automate their loan eligibility process to identify eligible customers for specified loan amounts.</a:t>
            </a:r>
          </a:p>
          <a:p>
            <a:pPr marL="171450" indent="-171450">
              <a:buFont typeface="Arial" panose="020B0604020202020204" pitchFamily="34" charset="0"/>
              <a:buChar char="•"/>
            </a:pPr>
            <a:r>
              <a:rPr lang="en-US"/>
              <a:t>This new solution will also allow the company to immediately deny loan applications or submit them for further review if necessary, reducing hours spent by underwriters in the current state and allowing for precise loan eligibility identification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Pass to Reagan to explain the overall data features </a:t>
            </a:r>
          </a:p>
        </p:txBody>
      </p:sp>
      <p:sp>
        <p:nvSpPr>
          <p:cNvPr id="4" name="Slide Number Placeholder 3"/>
          <p:cNvSpPr>
            <a:spLocks noGrp="1"/>
          </p:cNvSpPr>
          <p:nvPr>
            <p:ph type="sldNum" sz="quarter" idx="5"/>
          </p:nvPr>
        </p:nvSpPr>
        <p:spPr/>
        <p:txBody>
          <a:bodyPr/>
          <a:lstStyle/>
          <a:p>
            <a:fld id="{370D120A-0DBE-441B-A728-07EEFFD2141F}" type="slidenum">
              <a:rPr lang="en-US" smtClean="0"/>
              <a:t>3</a:t>
            </a:fld>
            <a:endParaRPr lang="en-US"/>
          </a:p>
        </p:txBody>
      </p:sp>
    </p:spTree>
    <p:extLst>
      <p:ext uri="{BB962C8B-B14F-4D97-AF65-F5344CB8AC3E}">
        <p14:creationId xmlns:p14="http://schemas.microsoft.com/office/powerpoint/2010/main" val="3490849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rget variable loan status</a:t>
            </a:r>
          </a:p>
        </p:txBody>
      </p:sp>
      <p:sp>
        <p:nvSpPr>
          <p:cNvPr id="4" name="Slide Number Placeholder 3"/>
          <p:cNvSpPr>
            <a:spLocks noGrp="1"/>
          </p:cNvSpPr>
          <p:nvPr>
            <p:ph type="sldNum" sz="quarter" idx="5"/>
          </p:nvPr>
        </p:nvSpPr>
        <p:spPr/>
        <p:txBody>
          <a:bodyPr/>
          <a:lstStyle/>
          <a:p>
            <a:fld id="{370D120A-0DBE-441B-A728-07EEFFD2141F}" type="slidenum">
              <a:rPr lang="en-US" smtClean="0"/>
              <a:t>4</a:t>
            </a:fld>
            <a:endParaRPr lang="en-US"/>
          </a:p>
        </p:txBody>
      </p:sp>
    </p:spTree>
    <p:extLst>
      <p:ext uri="{BB962C8B-B14F-4D97-AF65-F5344CB8AC3E}">
        <p14:creationId xmlns:p14="http://schemas.microsoft.com/office/powerpoint/2010/main" val="23459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45A3057-B380-47D6-996D-223CF9A90B5B}" type="slidenum">
              <a:rPr lang="en-US"/>
              <a:t>5</a:t>
            </a:fld>
            <a:endParaRPr lang="en-US"/>
          </a:p>
        </p:txBody>
      </p:sp>
    </p:spTree>
    <p:extLst>
      <p:ext uri="{BB962C8B-B14F-4D97-AF65-F5344CB8AC3E}">
        <p14:creationId xmlns:p14="http://schemas.microsoft.com/office/powerpoint/2010/main" val="500814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ansition on data cleaning topic</a:t>
            </a:r>
          </a:p>
        </p:txBody>
      </p:sp>
      <p:sp>
        <p:nvSpPr>
          <p:cNvPr id="4" name="Slide Number Placeholder 3"/>
          <p:cNvSpPr>
            <a:spLocks noGrp="1"/>
          </p:cNvSpPr>
          <p:nvPr>
            <p:ph type="sldNum" sz="quarter" idx="5"/>
          </p:nvPr>
        </p:nvSpPr>
        <p:spPr/>
        <p:txBody>
          <a:bodyPr/>
          <a:lstStyle/>
          <a:p>
            <a:fld id="{370D120A-0DBE-441B-A728-07EEFFD2141F}" type="slidenum">
              <a:rPr lang="en-US" smtClean="0"/>
              <a:t>6</a:t>
            </a:fld>
            <a:endParaRPr lang="en-US"/>
          </a:p>
        </p:txBody>
      </p:sp>
    </p:spTree>
    <p:extLst>
      <p:ext uri="{BB962C8B-B14F-4D97-AF65-F5344CB8AC3E}">
        <p14:creationId xmlns:p14="http://schemas.microsoft.com/office/powerpoint/2010/main" val="2217564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45A3057-B380-47D6-996D-223CF9A90B5B}" type="slidenum">
              <a:rPr lang="en-US"/>
              <a:t>7</a:t>
            </a:fld>
            <a:endParaRPr lang="en-US"/>
          </a:p>
        </p:txBody>
      </p:sp>
    </p:spTree>
    <p:extLst>
      <p:ext uri="{BB962C8B-B14F-4D97-AF65-F5344CB8AC3E}">
        <p14:creationId xmlns:p14="http://schemas.microsoft.com/office/powerpoint/2010/main" val="2219646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8</a:t>
            </a:fld>
            <a:endParaRPr lang="en-US"/>
          </a:p>
        </p:txBody>
      </p:sp>
    </p:spTree>
    <p:extLst>
      <p:ext uri="{BB962C8B-B14F-4D97-AF65-F5344CB8AC3E}">
        <p14:creationId xmlns:p14="http://schemas.microsoft.com/office/powerpoint/2010/main" val="795105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45A3057-B380-47D6-996D-223CF9A90B5B}" type="slidenum">
              <a:rPr lang="en-US"/>
              <a:t>9</a:t>
            </a:fld>
            <a:endParaRPr lang="en-US"/>
          </a:p>
        </p:txBody>
      </p:sp>
    </p:spTree>
    <p:extLst>
      <p:ext uri="{BB962C8B-B14F-4D97-AF65-F5344CB8AC3E}">
        <p14:creationId xmlns:p14="http://schemas.microsoft.com/office/powerpoint/2010/main" val="183117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analysis identified the following top five features that heavily impact loan eligibility:</a:t>
            </a:r>
          </a:p>
          <a:p>
            <a:r>
              <a:rPr lang="en-US"/>
              <a:t>These features, once visualized, provide a clear understanding of the factors that drive loan approval decisions. Understanding these key elements enables the company to focus its attention on the most impactful aspects of a customer's profile.</a:t>
            </a:r>
          </a:p>
          <a:p>
            <a:endParaRPr lang="en-US"/>
          </a:p>
        </p:txBody>
      </p:sp>
      <p:sp>
        <p:nvSpPr>
          <p:cNvPr id="4" name="Slide Number Placeholder 3"/>
          <p:cNvSpPr>
            <a:spLocks noGrp="1"/>
          </p:cNvSpPr>
          <p:nvPr>
            <p:ph type="sldNum" sz="quarter" idx="5"/>
          </p:nvPr>
        </p:nvSpPr>
        <p:spPr/>
        <p:txBody>
          <a:bodyPr/>
          <a:lstStyle/>
          <a:p>
            <a:fld id="{370D120A-0DBE-441B-A728-07EEFFD2141F}" type="slidenum">
              <a:rPr lang="en-US" smtClean="0"/>
              <a:t>11</a:t>
            </a:fld>
            <a:endParaRPr lang="en-US"/>
          </a:p>
        </p:txBody>
      </p:sp>
    </p:spTree>
    <p:extLst>
      <p:ext uri="{BB962C8B-B14F-4D97-AF65-F5344CB8AC3E}">
        <p14:creationId xmlns:p14="http://schemas.microsoft.com/office/powerpoint/2010/main" val="2988739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4F003-15CB-AADC-93F7-974185F286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C60794-6AF7-46B3-F6C7-7D3BBA7A56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B8BEEE-70A3-BC78-E787-B44D2CCA8871}"/>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2723654F-F553-7C18-F16C-06DDFA936A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3DFCC8-90B4-F932-304E-66587FDA75AF}"/>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1658153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92D70-5BD9-2A11-74C2-15A51A90B4E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2A1654-4B3C-32DE-A638-A3BFFB6B61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A6F764-8435-D1E2-B755-17FB54E08347}"/>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FD2F1C19-2CB5-2427-E9E6-A491E80DF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043BDB-0C7F-92D7-66E2-8C4E5BEC71D9}"/>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4242281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08FBCC5-C11B-7D74-C412-296F141248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DC2F13-E9ED-64AF-3EBA-C376FB4395C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A07925-F985-78B0-23E2-6B4D9BE6EE59}"/>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143F1D56-7879-300B-99EA-BD0046C814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7709E-0664-B58A-FB3A-4A888B55C607}"/>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42755693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3441031672"/>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F4271B22-8D3F-A24F-728E-F4CB81D6A95E}"/>
              </a:ext>
            </a:extLst>
          </p:cNvPr>
          <p:cNvSpPr>
            <a:spLocks noGrp="1"/>
          </p:cNvSpPr>
          <p:nvPr>
            <p:ph type="pic" sz="quarter" idx="11"/>
          </p:nvPr>
        </p:nvSpPr>
        <p:spPr>
          <a:xfrm>
            <a:off x="2387600" y="700180"/>
            <a:ext cx="7416800" cy="5556504"/>
          </a:xfrm>
          <a:prstGeom prst="rect">
            <a:avLst/>
          </a:prstGeom>
        </p:spPr>
        <p:txBody>
          <a:bodyPr/>
          <a:lstStyle/>
          <a:p>
            <a:r>
              <a:rPr lang="en-US" noProof="0"/>
              <a:t>Click icon to add picture</a:t>
            </a:r>
          </a:p>
        </p:txBody>
      </p:sp>
      <p:grpSp>
        <p:nvGrpSpPr>
          <p:cNvPr id="3" name="Group 2">
            <a:extLst>
              <a:ext uri="{FF2B5EF4-FFF2-40B4-BE49-F238E27FC236}">
                <a16:creationId xmlns:a16="http://schemas.microsoft.com/office/drawing/2014/main" id="{85BA3500-642A-11FE-5266-37F432A62731}"/>
              </a:ext>
            </a:extLst>
          </p:cNvPr>
          <p:cNvGrpSpPr>
            <a:grpSpLocks noChangeAspect="1"/>
          </p:cNvGrpSpPr>
          <p:nvPr userDrawn="1"/>
        </p:nvGrpSpPr>
        <p:grpSpPr>
          <a:xfrm>
            <a:off x="480333" y="323816"/>
            <a:ext cx="2149543" cy="332026"/>
            <a:chOff x="398463" y="404813"/>
            <a:chExt cx="1627187" cy="307976"/>
          </a:xfrm>
          <a:solidFill>
            <a:schemeClr val="tx1"/>
          </a:solidFill>
        </p:grpSpPr>
        <p:sp>
          <p:nvSpPr>
            <p:cNvPr id="4" name="Oval 5">
              <a:extLst>
                <a:ext uri="{FF2B5EF4-FFF2-40B4-BE49-F238E27FC236}">
                  <a16:creationId xmlns:a16="http://schemas.microsoft.com/office/drawing/2014/main" id="{05FF5CF5-342C-1CBA-127C-897C7EE8B08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 name="Freeform 6">
              <a:extLst>
                <a:ext uri="{FF2B5EF4-FFF2-40B4-BE49-F238E27FC236}">
                  <a16:creationId xmlns:a16="http://schemas.microsoft.com/office/drawing/2014/main" id="{267F4E0A-AD7B-BD8A-6ACF-FAE3B689076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6" name="Rectangle 7">
              <a:extLst>
                <a:ext uri="{FF2B5EF4-FFF2-40B4-BE49-F238E27FC236}">
                  <a16:creationId xmlns:a16="http://schemas.microsoft.com/office/drawing/2014/main" id="{F0D88640-6DF7-5F6B-3338-FDE92E0BEE4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7" name="Freeform 8">
              <a:extLst>
                <a:ext uri="{FF2B5EF4-FFF2-40B4-BE49-F238E27FC236}">
                  <a16:creationId xmlns:a16="http://schemas.microsoft.com/office/drawing/2014/main" id="{955AF346-DF9B-3CAB-AA7D-0A98D18A322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8" name="Rectangle 9">
              <a:extLst>
                <a:ext uri="{FF2B5EF4-FFF2-40B4-BE49-F238E27FC236}">
                  <a16:creationId xmlns:a16="http://schemas.microsoft.com/office/drawing/2014/main" id="{1E32B226-18B8-21CF-2FF7-F6C66C92B46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9" name="Rectangle 10">
              <a:extLst>
                <a:ext uri="{FF2B5EF4-FFF2-40B4-BE49-F238E27FC236}">
                  <a16:creationId xmlns:a16="http://schemas.microsoft.com/office/drawing/2014/main" id="{5D1F447D-248E-D821-8AA9-83B5CE22EF5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11">
              <a:extLst>
                <a:ext uri="{FF2B5EF4-FFF2-40B4-BE49-F238E27FC236}">
                  <a16:creationId xmlns:a16="http://schemas.microsoft.com/office/drawing/2014/main" id="{AF51A77E-EA79-48A4-64FD-3A19B74A2A1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Freeform 12">
              <a:extLst>
                <a:ext uri="{FF2B5EF4-FFF2-40B4-BE49-F238E27FC236}">
                  <a16:creationId xmlns:a16="http://schemas.microsoft.com/office/drawing/2014/main" id="{F3676AAF-E343-EF51-9D7D-E4882D1F95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13">
              <a:extLst>
                <a:ext uri="{FF2B5EF4-FFF2-40B4-BE49-F238E27FC236}">
                  <a16:creationId xmlns:a16="http://schemas.microsoft.com/office/drawing/2014/main" id="{DF15090E-FA97-8811-BB2C-B410114A987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Freeform 14">
              <a:extLst>
                <a:ext uri="{FF2B5EF4-FFF2-40B4-BE49-F238E27FC236}">
                  <a16:creationId xmlns:a16="http://schemas.microsoft.com/office/drawing/2014/main" id="{AFFB8C26-92A3-D683-4003-7E30034AEE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14" name="Title 1">
            <a:extLst>
              <a:ext uri="{FF2B5EF4-FFF2-40B4-BE49-F238E27FC236}">
                <a16:creationId xmlns:a16="http://schemas.microsoft.com/office/drawing/2014/main" id="{135929A5-7549-3A55-E386-874ED355051C}"/>
              </a:ext>
            </a:extLst>
          </p:cNvPr>
          <p:cNvSpPr>
            <a:spLocks noGrp="1"/>
          </p:cNvSpPr>
          <p:nvPr>
            <p:ph type="ctrTitle"/>
          </p:nvPr>
        </p:nvSpPr>
        <p:spPr bwMode="gray">
          <a:xfrm>
            <a:off x="457202" y="5186210"/>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5" name="Text Placeholder 4">
            <a:extLst>
              <a:ext uri="{FF2B5EF4-FFF2-40B4-BE49-F238E27FC236}">
                <a16:creationId xmlns:a16="http://schemas.microsoft.com/office/drawing/2014/main" id="{63E55A5E-814D-ECAB-9F62-3CCBFC1ABFBB}"/>
              </a:ext>
            </a:extLst>
          </p:cNvPr>
          <p:cNvSpPr>
            <a:spLocks noGrp="1"/>
          </p:cNvSpPr>
          <p:nvPr>
            <p:ph type="body" sz="quarter" idx="10"/>
          </p:nvPr>
        </p:nvSpPr>
        <p:spPr>
          <a:xfrm>
            <a:off x="457202"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48970042"/>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81335" y="4211955"/>
            <a:ext cx="8528937" cy="2169796"/>
          </a:xfrm>
        </p:spPr>
        <p:txBody>
          <a:bodyPr anchor="b" anchorCtr="0">
            <a:normAutofit/>
          </a:bodyPr>
          <a:lstStyle>
            <a:lvl1pPr>
              <a:lnSpc>
                <a:spcPct val="100000"/>
              </a:lnSpc>
              <a:spcAft>
                <a:spcPts val="488"/>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1329" y="4211955"/>
            <a:ext cx="2319503" cy="1725448"/>
          </a:xfrm>
        </p:spPr>
        <p:txBody>
          <a:bodyPr anchor="ctr" anchorCtr="0">
            <a:normAutofit/>
          </a:bodyPr>
          <a:lstStyle>
            <a:lvl1pPr algn="ctr">
              <a:defRPr sz="650"/>
            </a:lvl1pPr>
          </a:lstStyle>
          <a:p>
            <a:r>
              <a:rPr lang="en-GB" sz="731"/>
              <a:t>Insert sponsorship mark here</a:t>
            </a:r>
            <a:endParaRPr lang="en-GB"/>
          </a:p>
        </p:txBody>
      </p:sp>
      <p:sp>
        <p:nvSpPr>
          <p:cNvPr id="8" name="Text Placeholder 7"/>
          <p:cNvSpPr>
            <a:spLocks noGrp="1"/>
          </p:cNvSpPr>
          <p:nvPr>
            <p:ph type="body" sz="quarter" idx="15"/>
          </p:nvPr>
        </p:nvSpPr>
        <p:spPr>
          <a:xfrm>
            <a:off x="9401332" y="6018028"/>
            <a:ext cx="2319502" cy="363722"/>
          </a:xfrm>
        </p:spPr>
        <p:txBody>
          <a:bodyPr anchor="b" anchorCtr="0">
            <a:normAutofit/>
          </a:bodyPr>
          <a:lstStyle>
            <a:lvl1pPr>
              <a:lnSpc>
                <a:spcPct val="100000"/>
              </a:lnSpc>
              <a:defRPr sz="800"/>
            </a:lvl1pPr>
          </a:lstStyle>
          <a:p>
            <a:pPr lvl="0"/>
            <a:r>
              <a:rPr lang="en-US"/>
              <a:t>Click to edit Master text styles</a:t>
            </a:r>
          </a:p>
        </p:txBody>
      </p:sp>
      <p:grpSp>
        <p:nvGrpSpPr>
          <p:cNvPr id="2" name="Group 1">
            <a:extLst>
              <a:ext uri="{FF2B5EF4-FFF2-40B4-BE49-F238E27FC236}">
                <a16:creationId xmlns:a16="http://schemas.microsoft.com/office/drawing/2014/main" id="{0A20E72E-2E1D-423F-66C4-C057CA35C822}"/>
              </a:ext>
            </a:extLst>
          </p:cNvPr>
          <p:cNvGrpSpPr>
            <a:grpSpLocks noChangeAspect="1"/>
          </p:cNvGrpSpPr>
          <p:nvPr userDrawn="1"/>
        </p:nvGrpSpPr>
        <p:grpSpPr>
          <a:xfrm>
            <a:off x="480333" y="323816"/>
            <a:ext cx="2149543" cy="332026"/>
            <a:chOff x="398463" y="404813"/>
            <a:chExt cx="1627187" cy="307976"/>
          </a:xfrm>
          <a:solidFill>
            <a:schemeClr val="tx1"/>
          </a:solidFill>
        </p:grpSpPr>
        <p:sp>
          <p:nvSpPr>
            <p:cNvPr id="4" name="Oval 5">
              <a:extLst>
                <a:ext uri="{FF2B5EF4-FFF2-40B4-BE49-F238E27FC236}">
                  <a16:creationId xmlns:a16="http://schemas.microsoft.com/office/drawing/2014/main" id="{5B5C9C9B-403A-7DD3-E4D1-189B13ADC4D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 name="Freeform 6">
              <a:extLst>
                <a:ext uri="{FF2B5EF4-FFF2-40B4-BE49-F238E27FC236}">
                  <a16:creationId xmlns:a16="http://schemas.microsoft.com/office/drawing/2014/main" id="{7A6AB66F-FC99-6F89-CAA0-F9E0AF0FCCA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7" name="Rectangle 7">
              <a:extLst>
                <a:ext uri="{FF2B5EF4-FFF2-40B4-BE49-F238E27FC236}">
                  <a16:creationId xmlns:a16="http://schemas.microsoft.com/office/drawing/2014/main" id="{4DDE3E4E-1414-2738-2CD1-2DD1A16C91C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9" name="Freeform 8">
              <a:extLst>
                <a:ext uri="{FF2B5EF4-FFF2-40B4-BE49-F238E27FC236}">
                  <a16:creationId xmlns:a16="http://schemas.microsoft.com/office/drawing/2014/main" id="{9DD44839-74A3-651C-513C-CD8107ABB34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Rectangle 9">
              <a:extLst>
                <a:ext uri="{FF2B5EF4-FFF2-40B4-BE49-F238E27FC236}">
                  <a16:creationId xmlns:a16="http://schemas.microsoft.com/office/drawing/2014/main" id="{7EA1F930-52DB-73BE-72BB-4AEF8C73858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10">
              <a:extLst>
                <a:ext uri="{FF2B5EF4-FFF2-40B4-BE49-F238E27FC236}">
                  <a16:creationId xmlns:a16="http://schemas.microsoft.com/office/drawing/2014/main" id="{180A2756-B22B-197E-8EB1-69D1F868A25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11">
              <a:extLst>
                <a:ext uri="{FF2B5EF4-FFF2-40B4-BE49-F238E27FC236}">
                  <a16:creationId xmlns:a16="http://schemas.microsoft.com/office/drawing/2014/main" id="{08AF596F-260E-2476-E41B-712DFA915B9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Freeform 12">
              <a:extLst>
                <a:ext uri="{FF2B5EF4-FFF2-40B4-BE49-F238E27FC236}">
                  <a16:creationId xmlns:a16="http://schemas.microsoft.com/office/drawing/2014/main" id="{2656F531-9FB8-708C-4AA0-5A184343B8A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Freeform 13">
              <a:extLst>
                <a:ext uri="{FF2B5EF4-FFF2-40B4-BE49-F238E27FC236}">
                  <a16:creationId xmlns:a16="http://schemas.microsoft.com/office/drawing/2014/main" id="{37E031F9-BBDD-A3F1-AF51-6C7FB518CF7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4">
              <a:extLst>
                <a:ext uri="{FF2B5EF4-FFF2-40B4-BE49-F238E27FC236}">
                  <a16:creationId xmlns:a16="http://schemas.microsoft.com/office/drawing/2014/main" id="{3AD0BEFB-ABA1-52EA-9E62-C71E54C5162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6942145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60" y="651600"/>
            <a:ext cx="112014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1" cy="342900"/>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3033691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FB86B-6EF0-3D39-12D7-E74BC74879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CEC925-9899-7278-A618-9D732C1C446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107C3D-07E4-3719-0CE1-19000BC769E8}"/>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653FAF2C-7CD2-CE5B-46F2-F181A5274D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33727-3352-1A7B-E4AC-34956B92AE57}"/>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1279474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BCB69-0C10-0038-C0DA-BA860C40BC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6391C9-9770-FAA3-9E2F-642CEA312A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D87ACE-FE1C-81C4-F08C-4478C351B484}"/>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372DA9A1-DDDA-E516-EA55-F0656AC556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9CF3BB-DF85-E87B-919B-C0756EED0D48}"/>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29564043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9F681-4E02-8883-F4EB-BE7A554F8C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DF3674-EFBF-C018-CAFD-9369D2490D3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7AC5EED-9097-98E2-C504-57389A82C3D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EE129FB-B148-D341-935D-6C23A6297E63}"/>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6" name="Footer Placeholder 5">
            <a:extLst>
              <a:ext uri="{FF2B5EF4-FFF2-40B4-BE49-F238E27FC236}">
                <a16:creationId xmlns:a16="http://schemas.microsoft.com/office/drawing/2014/main" id="{6383ECE0-8140-5D5D-0C5F-3EB0B2B30D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4023E6-06C0-E812-4DD7-E1DFC5F632A1}"/>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3301618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A5E14-BB42-052C-52C9-8D90A63FF33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E380C4-B5DC-BF30-8F65-F2B6CF6B05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4FF784-2371-606E-524B-AD6C066DF07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7F4BF3-C801-67DA-8414-A5D1BD49F8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86BB06-C8A5-E71F-0D95-B6827E58714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07E8453-87A7-FBE9-2707-91CC3D73A43E}"/>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8" name="Footer Placeholder 7">
            <a:extLst>
              <a:ext uri="{FF2B5EF4-FFF2-40B4-BE49-F238E27FC236}">
                <a16:creationId xmlns:a16="http://schemas.microsoft.com/office/drawing/2014/main" id="{7F209EED-7052-D566-8F1A-0AED93A912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475763-32CF-D4B2-7CD2-C93E4AA45DCF}"/>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38416082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EEE0A-8CD1-C7F6-9711-72E1594A787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CAEBEB-262C-A6D3-3119-F042E5294064}"/>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4" name="Footer Placeholder 3">
            <a:extLst>
              <a:ext uri="{FF2B5EF4-FFF2-40B4-BE49-F238E27FC236}">
                <a16:creationId xmlns:a16="http://schemas.microsoft.com/office/drawing/2014/main" id="{A3F002D8-30FE-3D23-E6E9-E064C441F91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31D0720-2D55-9E1E-0BC0-9317E0FD2A7C}"/>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13680888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400A9F-3F19-1006-FC12-93EC08D8B832}"/>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3" name="Footer Placeholder 2">
            <a:extLst>
              <a:ext uri="{FF2B5EF4-FFF2-40B4-BE49-F238E27FC236}">
                <a16:creationId xmlns:a16="http://schemas.microsoft.com/office/drawing/2014/main" id="{A14990A7-308C-08BA-684D-9FEAEAB75A0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658869-F966-C963-C200-4C7EA970AA06}"/>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34673769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4573A-E1C0-961C-0FB4-41538137E3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CAF7679-9BEA-A339-9C07-316D7EB3DB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B34866-63B8-E9D6-EFF2-A06815524B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8E9857-2F27-1690-77A1-5A4FA33334AD}"/>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6" name="Footer Placeholder 5">
            <a:extLst>
              <a:ext uri="{FF2B5EF4-FFF2-40B4-BE49-F238E27FC236}">
                <a16:creationId xmlns:a16="http://schemas.microsoft.com/office/drawing/2014/main" id="{20C07E6B-CAB8-2F6E-5E80-D82B4893CC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1DEB2A-81C9-142F-E0A2-1C9763866C6D}"/>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2442874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C498B-4DF1-B564-9A08-41FE594E83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416F17-B7EE-BB47-BCE1-AF742EA86C0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82505-C1AD-AAC7-84CB-20BFF6201E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E1BB77-10D1-4842-A7DC-2C4661D6DD04}"/>
              </a:ext>
            </a:extLst>
          </p:cNvPr>
          <p:cNvSpPr>
            <a:spLocks noGrp="1"/>
          </p:cNvSpPr>
          <p:nvPr>
            <p:ph type="dt" sz="half" idx="10"/>
          </p:nvPr>
        </p:nvSpPr>
        <p:spPr/>
        <p:txBody>
          <a:bodyPr/>
          <a:lstStyle/>
          <a:p>
            <a:fld id="{DBFBFE17-AE7D-4509-AAB5-AD24174424AE}" type="datetimeFigureOut">
              <a:rPr lang="en-US" smtClean="0"/>
              <a:t>1/18/2024</a:t>
            </a:fld>
            <a:endParaRPr lang="en-US"/>
          </a:p>
        </p:txBody>
      </p:sp>
      <p:sp>
        <p:nvSpPr>
          <p:cNvPr id="6" name="Footer Placeholder 5">
            <a:extLst>
              <a:ext uri="{FF2B5EF4-FFF2-40B4-BE49-F238E27FC236}">
                <a16:creationId xmlns:a16="http://schemas.microsoft.com/office/drawing/2014/main" id="{13A7F90B-2A6C-0102-4A3E-659F8A464F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264D1A-D2B1-6301-0DB8-30ECAB6B26CD}"/>
              </a:ext>
            </a:extLst>
          </p:cNvPr>
          <p:cNvSpPr>
            <a:spLocks noGrp="1"/>
          </p:cNvSpPr>
          <p:nvPr>
            <p:ph type="sldNum" sz="quarter" idx="12"/>
          </p:nvPr>
        </p:nvSpPr>
        <p:spPr/>
        <p:txBody>
          <a:bodyPr/>
          <a:lstStyle/>
          <a:p>
            <a:fld id="{AB73C14E-E567-4AB4-893A-580DFCD05FF6}" type="slidenum">
              <a:rPr lang="en-US" smtClean="0"/>
              <a:t>‹#›</a:t>
            </a:fld>
            <a:endParaRPr lang="en-US"/>
          </a:p>
        </p:txBody>
      </p:sp>
    </p:spTree>
    <p:extLst>
      <p:ext uri="{BB962C8B-B14F-4D97-AF65-F5344CB8AC3E}">
        <p14:creationId xmlns:p14="http://schemas.microsoft.com/office/powerpoint/2010/main" val="32245972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2E9D6C-F5B3-334D-DBF4-E4BB11F53B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DB9618B-3246-2411-09FA-5D16213CD8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13F53F-ABA5-F939-3172-BF31E93036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FBFE17-AE7D-4509-AAB5-AD24174424AE}" type="datetimeFigureOut">
              <a:rPr lang="en-US" smtClean="0"/>
              <a:t>1/18/2024</a:t>
            </a:fld>
            <a:endParaRPr lang="en-US"/>
          </a:p>
        </p:txBody>
      </p:sp>
      <p:sp>
        <p:nvSpPr>
          <p:cNvPr id="5" name="Footer Placeholder 4">
            <a:extLst>
              <a:ext uri="{FF2B5EF4-FFF2-40B4-BE49-F238E27FC236}">
                <a16:creationId xmlns:a16="http://schemas.microsoft.com/office/drawing/2014/main" id="{DAEE9885-51DF-42E0-2D83-857972A943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BD54E8-2E12-5992-4F37-41F0DCA20D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73C14E-E567-4AB4-893A-580DFCD05FF6}" type="slidenum">
              <a:rPr lang="en-US" smtClean="0"/>
              <a:t>‹#›</a:t>
            </a:fld>
            <a:endParaRPr lang="en-US"/>
          </a:p>
        </p:txBody>
      </p:sp>
    </p:spTree>
    <p:extLst>
      <p:ext uri="{BB962C8B-B14F-4D97-AF65-F5344CB8AC3E}">
        <p14:creationId xmlns:p14="http://schemas.microsoft.com/office/powerpoint/2010/main" val="274016634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13E_3E7EB0F7.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microsoft.com/office/2018/10/relationships/comments" Target="../comments/modernComment_134_BDF82308.xml"/><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6.sv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BAA2CE-089C-4996-B981-F2E4A4C894CD}"/>
              </a:ext>
            </a:extLst>
          </p:cNvPr>
          <p:cNvSpPr>
            <a:spLocks noGrp="1"/>
          </p:cNvSpPr>
          <p:nvPr>
            <p:ph type="subTitle" idx="1"/>
          </p:nvPr>
        </p:nvSpPr>
        <p:spPr>
          <a:xfrm>
            <a:off x="400050" y="5041557"/>
            <a:ext cx="8043734" cy="1245894"/>
          </a:xfrm>
        </p:spPr>
        <p:txBody>
          <a:bodyPr/>
          <a:lstStyle/>
          <a:p>
            <a:endParaRPr lang="en-US" sz="3200"/>
          </a:p>
          <a:p>
            <a:endParaRPr lang="en-US" sz="3200"/>
          </a:p>
          <a:p>
            <a:r>
              <a:rPr lang="en-US" sz="2800"/>
              <a:t>Bank Loan Classification Analysis</a:t>
            </a:r>
          </a:p>
          <a:p>
            <a:r>
              <a:rPr lang="en-US" b="0">
                <a:latin typeface="+mn-lt"/>
              </a:rPr>
              <a:t>Dream Housing Finance Company</a:t>
            </a:r>
            <a:endParaRPr lang="en-US" b="0"/>
          </a:p>
        </p:txBody>
      </p:sp>
      <p:sp>
        <p:nvSpPr>
          <p:cNvPr id="3" name="Text Placeholder 2">
            <a:extLst>
              <a:ext uri="{FF2B5EF4-FFF2-40B4-BE49-F238E27FC236}">
                <a16:creationId xmlns:a16="http://schemas.microsoft.com/office/drawing/2014/main" id="{C0E00515-6C2A-46A7-B7E2-49CA9CCC0E53}"/>
              </a:ext>
            </a:extLst>
          </p:cNvPr>
          <p:cNvSpPr>
            <a:spLocks noGrp="1"/>
          </p:cNvSpPr>
          <p:nvPr>
            <p:ph type="body" sz="quarter" idx="10"/>
          </p:nvPr>
        </p:nvSpPr>
        <p:spPr>
          <a:xfrm>
            <a:off x="400050" y="6474941"/>
            <a:ext cx="7359993" cy="309579"/>
          </a:xfrm>
        </p:spPr>
        <p:txBody>
          <a:bodyPr/>
          <a:lstStyle/>
          <a:p>
            <a:pPr marL="0" indent="0">
              <a:buNone/>
            </a:pPr>
            <a:r>
              <a:rPr lang="en-US" sz="1200">
                <a:latin typeface="Open Sans Light" panose="020B0306030504020204" pitchFamily="34" charset="0"/>
                <a:ea typeface="Open Sans Light" panose="020B0306030504020204" pitchFamily="34" charset="0"/>
                <a:cs typeface="Open Sans Light" panose="020B0306030504020204" pitchFamily="34" charset="0"/>
              </a:rPr>
              <a:t>Laila </a:t>
            </a:r>
            <a:r>
              <a:rPr lang="en-US" sz="1200" err="1">
                <a:latin typeface="Open Sans Light" panose="020B0306030504020204" pitchFamily="34" charset="0"/>
                <a:ea typeface="Open Sans Light" panose="020B0306030504020204" pitchFamily="34" charset="0"/>
                <a:cs typeface="Open Sans Light" panose="020B0306030504020204" pitchFamily="34" charset="0"/>
              </a:rPr>
              <a:t>Alshafie</a:t>
            </a:r>
            <a:r>
              <a:rPr lang="en-US" sz="1200">
                <a:latin typeface="Open Sans Light" panose="020B0306030504020204" pitchFamily="34" charset="0"/>
                <a:ea typeface="Open Sans Light" panose="020B0306030504020204" pitchFamily="34" charset="0"/>
                <a:cs typeface="Open Sans Light" panose="020B0306030504020204" pitchFamily="34" charset="0"/>
              </a:rPr>
              <a:t>, Justin Keith, Rome Palme, Reagan Newswanger, Hannah Steuernagle, </a:t>
            </a:r>
            <a:r>
              <a:rPr lang="en-US" sz="1200" err="1">
                <a:latin typeface="Open Sans Light" panose="020B0306030504020204" pitchFamily="34" charset="0"/>
                <a:ea typeface="Open Sans Light" panose="020B0306030504020204" pitchFamily="34" charset="0"/>
                <a:cs typeface="Open Sans Light" panose="020B0306030504020204" pitchFamily="34" charset="0"/>
              </a:rPr>
              <a:t>Zeejah</a:t>
            </a:r>
            <a:r>
              <a:rPr lang="en-US" sz="1200">
                <a:latin typeface="Open Sans Light" panose="020B0306030504020204" pitchFamily="34" charset="0"/>
                <a:ea typeface="Open Sans Light" panose="020B0306030504020204" pitchFamily="34" charset="0"/>
                <a:cs typeface="Open Sans Light" panose="020B0306030504020204" pitchFamily="34" charset="0"/>
              </a:rPr>
              <a:t> Waseem</a:t>
            </a:r>
          </a:p>
        </p:txBody>
      </p:sp>
    </p:spTree>
    <p:extLst>
      <p:ext uri="{BB962C8B-B14F-4D97-AF65-F5344CB8AC3E}">
        <p14:creationId xmlns:p14="http://schemas.microsoft.com/office/powerpoint/2010/main" val="35194336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D396909-7A37-F61C-A5D3-38797CF9FF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4060" y="1130550"/>
            <a:ext cx="7143880" cy="519915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3285DB6-D70F-CE38-05E0-E8799EB11613}"/>
              </a:ext>
            </a:extLst>
          </p:cNvPr>
          <p:cNvSpPr txBox="1"/>
          <p:nvPr/>
        </p:nvSpPr>
        <p:spPr>
          <a:xfrm>
            <a:off x="3978392" y="1771833"/>
            <a:ext cx="1767840" cy="369332"/>
          </a:xfrm>
          <a:prstGeom prst="rect">
            <a:avLst/>
          </a:prstGeom>
          <a:noFill/>
        </p:spPr>
        <p:txBody>
          <a:bodyPr wrap="square" rtlCol="0">
            <a:spAutoFit/>
          </a:bodyPr>
          <a:lstStyle/>
          <a:p>
            <a:r>
              <a:rPr lang="en-US" b="1"/>
              <a:t>True Negative </a:t>
            </a:r>
          </a:p>
        </p:txBody>
      </p:sp>
      <p:sp>
        <p:nvSpPr>
          <p:cNvPr id="3" name="TextBox 2">
            <a:extLst>
              <a:ext uri="{FF2B5EF4-FFF2-40B4-BE49-F238E27FC236}">
                <a16:creationId xmlns:a16="http://schemas.microsoft.com/office/drawing/2014/main" id="{DDDC8BAE-1CE8-6901-9813-4EA753B7B046}"/>
              </a:ext>
            </a:extLst>
          </p:cNvPr>
          <p:cNvSpPr txBox="1"/>
          <p:nvPr/>
        </p:nvSpPr>
        <p:spPr>
          <a:xfrm>
            <a:off x="6467541" y="1771833"/>
            <a:ext cx="1924594" cy="369332"/>
          </a:xfrm>
          <a:prstGeom prst="rect">
            <a:avLst/>
          </a:prstGeom>
          <a:noFill/>
        </p:spPr>
        <p:txBody>
          <a:bodyPr wrap="square" rtlCol="0">
            <a:spAutoFit/>
          </a:bodyPr>
          <a:lstStyle/>
          <a:p>
            <a:r>
              <a:rPr lang="en-US" b="1"/>
              <a:t>False Negative </a:t>
            </a:r>
          </a:p>
        </p:txBody>
      </p:sp>
      <p:sp>
        <p:nvSpPr>
          <p:cNvPr id="4" name="TextBox 3">
            <a:extLst>
              <a:ext uri="{FF2B5EF4-FFF2-40B4-BE49-F238E27FC236}">
                <a16:creationId xmlns:a16="http://schemas.microsoft.com/office/drawing/2014/main" id="{9A49B063-F79F-B32F-8A7A-F15CA028C712}"/>
              </a:ext>
            </a:extLst>
          </p:cNvPr>
          <p:cNvSpPr txBox="1"/>
          <p:nvPr/>
        </p:nvSpPr>
        <p:spPr>
          <a:xfrm>
            <a:off x="3978392" y="3866104"/>
            <a:ext cx="1767840" cy="369332"/>
          </a:xfrm>
          <a:prstGeom prst="rect">
            <a:avLst/>
          </a:prstGeom>
          <a:noFill/>
        </p:spPr>
        <p:txBody>
          <a:bodyPr wrap="square" rtlCol="0">
            <a:spAutoFit/>
          </a:bodyPr>
          <a:lstStyle/>
          <a:p>
            <a:r>
              <a:rPr lang="en-US" b="1">
                <a:solidFill>
                  <a:schemeClr val="bg1"/>
                </a:solidFill>
              </a:rPr>
              <a:t>False Positive </a:t>
            </a:r>
          </a:p>
        </p:txBody>
      </p:sp>
      <p:sp>
        <p:nvSpPr>
          <p:cNvPr id="5" name="TextBox 4">
            <a:extLst>
              <a:ext uri="{FF2B5EF4-FFF2-40B4-BE49-F238E27FC236}">
                <a16:creationId xmlns:a16="http://schemas.microsoft.com/office/drawing/2014/main" id="{B2273388-A36E-951D-C41A-653D75A4E109}"/>
              </a:ext>
            </a:extLst>
          </p:cNvPr>
          <p:cNvSpPr txBox="1"/>
          <p:nvPr/>
        </p:nvSpPr>
        <p:spPr>
          <a:xfrm>
            <a:off x="6588034" y="3866104"/>
            <a:ext cx="1550126" cy="369332"/>
          </a:xfrm>
          <a:prstGeom prst="rect">
            <a:avLst/>
          </a:prstGeom>
          <a:noFill/>
        </p:spPr>
        <p:txBody>
          <a:bodyPr wrap="square" rtlCol="0">
            <a:spAutoFit/>
          </a:bodyPr>
          <a:lstStyle/>
          <a:p>
            <a:r>
              <a:rPr lang="en-US" b="1"/>
              <a:t>True Positive</a:t>
            </a:r>
          </a:p>
        </p:txBody>
      </p:sp>
      <p:sp>
        <p:nvSpPr>
          <p:cNvPr id="8" name="TextBox 7">
            <a:extLst>
              <a:ext uri="{FF2B5EF4-FFF2-40B4-BE49-F238E27FC236}">
                <a16:creationId xmlns:a16="http://schemas.microsoft.com/office/drawing/2014/main" id="{5C9785F7-510C-D946-2F3A-5070F5FB4249}"/>
              </a:ext>
            </a:extLst>
          </p:cNvPr>
          <p:cNvSpPr txBox="1"/>
          <p:nvPr/>
        </p:nvSpPr>
        <p:spPr>
          <a:xfrm>
            <a:off x="219219" y="1033169"/>
            <a:ext cx="2387574" cy="1477328"/>
          </a:xfrm>
          <a:prstGeom prst="rect">
            <a:avLst/>
          </a:prstGeom>
          <a:noFill/>
        </p:spPr>
        <p:txBody>
          <a:bodyPr wrap="square" rtlCol="0">
            <a:spAutoFit/>
          </a:bodyPr>
          <a:lstStyle/>
          <a:p>
            <a:r>
              <a:rPr lang="en-US"/>
              <a:t>Our model minimizes the number of cases where loans have been approved that should have been rejected</a:t>
            </a:r>
          </a:p>
        </p:txBody>
      </p:sp>
      <p:sp>
        <p:nvSpPr>
          <p:cNvPr id="9" name="Rectangle 8">
            <a:extLst>
              <a:ext uri="{FF2B5EF4-FFF2-40B4-BE49-F238E27FC236}">
                <a16:creationId xmlns:a16="http://schemas.microsoft.com/office/drawing/2014/main" id="{2A336210-E708-5F6D-D519-F1713A280E08}"/>
              </a:ext>
            </a:extLst>
          </p:cNvPr>
          <p:cNvSpPr/>
          <p:nvPr/>
        </p:nvSpPr>
        <p:spPr>
          <a:xfrm>
            <a:off x="3169920" y="3309256"/>
            <a:ext cx="2926080" cy="2418194"/>
          </a:xfrm>
          <a:prstGeom prst="rect">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Bent-Up 9">
            <a:extLst>
              <a:ext uri="{FF2B5EF4-FFF2-40B4-BE49-F238E27FC236}">
                <a16:creationId xmlns:a16="http://schemas.microsoft.com/office/drawing/2014/main" id="{83770EDB-C3DB-A712-EF02-0EE81513A4A7}"/>
              </a:ext>
            </a:extLst>
          </p:cNvPr>
          <p:cNvSpPr/>
          <p:nvPr/>
        </p:nvSpPr>
        <p:spPr>
          <a:xfrm rot="5400000">
            <a:off x="470321" y="2826584"/>
            <a:ext cx="2149493" cy="1807088"/>
          </a:xfrm>
          <a:prstGeom prst="bentUp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0307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6" y="176965"/>
            <a:ext cx="10072980" cy="830998"/>
          </a:xfrm>
        </p:spPr>
        <p:txBody>
          <a:bodyPr/>
          <a:lstStyle/>
          <a:p>
            <a:r>
              <a:rPr lang="en-US">
                <a:latin typeface="+mn-lt"/>
              </a:rPr>
              <a:t>Results – Heavily Impacted Loan Features</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pic>
        <p:nvPicPr>
          <p:cNvPr id="3" name="Picture 2" descr="A blue and white rectangle with a black border&#10;&#10;Description automatically generated">
            <a:extLst>
              <a:ext uri="{FF2B5EF4-FFF2-40B4-BE49-F238E27FC236}">
                <a16:creationId xmlns:a16="http://schemas.microsoft.com/office/drawing/2014/main" id="{835B0780-6D38-E980-29F0-02FC6F9C3DB9}"/>
              </a:ext>
            </a:extLst>
          </p:cNvPr>
          <p:cNvPicPr>
            <a:picLocks noChangeAspect="1"/>
          </p:cNvPicPr>
          <p:nvPr/>
        </p:nvPicPr>
        <p:blipFill>
          <a:blip r:embed="rId4"/>
          <a:stretch>
            <a:fillRect/>
          </a:stretch>
        </p:blipFill>
        <p:spPr>
          <a:xfrm>
            <a:off x="1720092" y="1437330"/>
            <a:ext cx="8751816" cy="4973593"/>
          </a:xfrm>
          <a:prstGeom prst="rect">
            <a:avLst/>
          </a:prstGeom>
        </p:spPr>
      </p:pic>
    </p:spTree>
    <p:extLst>
      <p:ext uri="{BB962C8B-B14F-4D97-AF65-F5344CB8AC3E}">
        <p14:creationId xmlns:p14="http://schemas.microsoft.com/office/powerpoint/2010/main" val="1048490231"/>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6" y="176965"/>
            <a:ext cx="10072980" cy="830998"/>
          </a:xfrm>
        </p:spPr>
        <p:txBody>
          <a:bodyPr/>
          <a:lstStyle/>
          <a:p>
            <a:r>
              <a:rPr lang="en-US">
                <a:latin typeface="+mn-lt"/>
              </a:rPr>
              <a:t>Deeper Dive Into Results</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pic>
        <p:nvPicPr>
          <p:cNvPr id="3" name="Picture 2">
            <a:extLst>
              <a:ext uri="{FF2B5EF4-FFF2-40B4-BE49-F238E27FC236}">
                <a16:creationId xmlns:a16="http://schemas.microsoft.com/office/drawing/2014/main" id="{CAC8CD69-CFD8-A2CF-FA87-32413442447D}"/>
              </a:ext>
            </a:extLst>
          </p:cNvPr>
          <p:cNvPicPr>
            <a:picLocks noChangeAspect="1"/>
          </p:cNvPicPr>
          <p:nvPr/>
        </p:nvPicPr>
        <p:blipFill>
          <a:blip r:embed="rId3"/>
          <a:stretch>
            <a:fillRect/>
          </a:stretch>
        </p:blipFill>
        <p:spPr>
          <a:xfrm>
            <a:off x="2722802" y="1494498"/>
            <a:ext cx="6746397" cy="4838675"/>
          </a:xfrm>
          <a:prstGeom prst="rect">
            <a:avLst/>
          </a:prstGeom>
        </p:spPr>
      </p:pic>
    </p:spTree>
    <p:extLst>
      <p:ext uri="{BB962C8B-B14F-4D97-AF65-F5344CB8AC3E}">
        <p14:creationId xmlns:p14="http://schemas.microsoft.com/office/powerpoint/2010/main" val="831882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6" y="176965"/>
            <a:ext cx="10072980" cy="830998"/>
          </a:xfrm>
        </p:spPr>
        <p:txBody>
          <a:bodyPr/>
          <a:lstStyle/>
          <a:p>
            <a:r>
              <a:rPr lang="en-US">
                <a:latin typeface="+mn-lt"/>
              </a:rPr>
              <a:t>Deeper Dive Into Results</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grpSp>
        <p:nvGrpSpPr>
          <p:cNvPr id="4" name="Group 3">
            <a:extLst>
              <a:ext uri="{FF2B5EF4-FFF2-40B4-BE49-F238E27FC236}">
                <a16:creationId xmlns:a16="http://schemas.microsoft.com/office/drawing/2014/main" id="{411D48E5-3B30-B9BA-BD44-DD331291E05E}"/>
              </a:ext>
            </a:extLst>
          </p:cNvPr>
          <p:cNvGrpSpPr/>
          <p:nvPr/>
        </p:nvGrpSpPr>
        <p:grpSpPr>
          <a:xfrm>
            <a:off x="2790809" y="1382943"/>
            <a:ext cx="6610382" cy="4854448"/>
            <a:chOff x="4243387" y="2105012"/>
            <a:chExt cx="3705225" cy="2711685"/>
          </a:xfrm>
        </p:grpSpPr>
        <p:pic>
          <p:nvPicPr>
            <p:cNvPr id="5" name="Picture 4">
              <a:extLst>
                <a:ext uri="{FF2B5EF4-FFF2-40B4-BE49-F238E27FC236}">
                  <a16:creationId xmlns:a16="http://schemas.microsoft.com/office/drawing/2014/main" id="{0F151573-1195-4E54-2818-ABEE5C805A06}"/>
                </a:ext>
              </a:extLst>
            </p:cNvPr>
            <p:cNvPicPr>
              <a:picLocks noChangeAspect="1"/>
            </p:cNvPicPr>
            <p:nvPr/>
          </p:nvPicPr>
          <p:blipFill>
            <a:blip r:embed="rId3"/>
            <a:stretch>
              <a:fillRect/>
            </a:stretch>
          </p:blipFill>
          <p:spPr>
            <a:xfrm>
              <a:off x="4243387" y="2311622"/>
              <a:ext cx="3705225" cy="2505075"/>
            </a:xfrm>
            <a:prstGeom prst="rect">
              <a:avLst/>
            </a:prstGeom>
          </p:spPr>
        </p:pic>
        <p:sp>
          <p:nvSpPr>
            <p:cNvPr id="7" name="TextBox 6">
              <a:extLst>
                <a:ext uri="{FF2B5EF4-FFF2-40B4-BE49-F238E27FC236}">
                  <a16:creationId xmlns:a16="http://schemas.microsoft.com/office/drawing/2014/main" id="{108188AA-0F63-4152-CB7E-BE69F1B286FC}"/>
                </a:ext>
              </a:extLst>
            </p:cNvPr>
            <p:cNvSpPr txBox="1"/>
            <p:nvPr/>
          </p:nvSpPr>
          <p:spPr>
            <a:xfrm>
              <a:off x="4795063" y="2105012"/>
              <a:ext cx="3007605" cy="211026"/>
            </a:xfrm>
            <a:prstGeom prst="rect">
              <a:avLst/>
            </a:prstGeom>
            <a:noFill/>
          </p:spPr>
          <p:txBody>
            <a:bodyPr wrap="square" rtlCol="0">
              <a:spAutoFit/>
            </a:bodyPr>
            <a:lstStyle/>
            <a:p>
              <a:pPr algn="ctr"/>
              <a:r>
                <a:rPr lang="en-US" sz="1600" b="1"/>
                <a:t>Approval Status based on Property Area </a:t>
              </a:r>
            </a:p>
          </p:txBody>
        </p:sp>
      </p:grpSp>
    </p:spTree>
    <p:extLst>
      <p:ext uri="{BB962C8B-B14F-4D97-AF65-F5344CB8AC3E}">
        <p14:creationId xmlns:p14="http://schemas.microsoft.com/office/powerpoint/2010/main" val="3507866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6" y="176965"/>
            <a:ext cx="10072980" cy="830998"/>
          </a:xfrm>
        </p:spPr>
        <p:txBody>
          <a:bodyPr/>
          <a:lstStyle/>
          <a:p>
            <a:r>
              <a:rPr lang="en-US">
                <a:latin typeface="+mn-lt"/>
              </a:rPr>
              <a:t>Deeper Dive Into Results</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grpSp>
        <p:nvGrpSpPr>
          <p:cNvPr id="4" name="Group 3">
            <a:extLst>
              <a:ext uri="{FF2B5EF4-FFF2-40B4-BE49-F238E27FC236}">
                <a16:creationId xmlns:a16="http://schemas.microsoft.com/office/drawing/2014/main" id="{36648BA9-4AB6-CEED-A9EB-AD3D6E0C572E}"/>
              </a:ext>
            </a:extLst>
          </p:cNvPr>
          <p:cNvGrpSpPr/>
          <p:nvPr/>
        </p:nvGrpSpPr>
        <p:grpSpPr>
          <a:xfrm>
            <a:off x="2860969" y="1350336"/>
            <a:ext cx="6470062" cy="5032995"/>
            <a:chOff x="8217695" y="2105012"/>
            <a:chExt cx="3705225" cy="2711685"/>
          </a:xfrm>
        </p:grpSpPr>
        <p:pic>
          <p:nvPicPr>
            <p:cNvPr id="6" name="Picture 5">
              <a:extLst>
                <a:ext uri="{FF2B5EF4-FFF2-40B4-BE49-F238E27FC236}">
                  <a16:creationId xmlns:a16="http://schemas.microsoft.com/office/drawing/2014/main" id="{E4D5D11A-AA8E-7842-66C3-FEF187E1BD5A}"/>
                </a:ext>
              </a:extLst>
            </p:cNvPr>
            <p:cNvPicPr>
              <a:picLocks noChangeAspect="1"/>
            </p:cNvPicPr>
            <p:nvPr/>
          </p:nvPicPr>
          <p:blipFill>
            <a:blip r:embed="rId3"/>
            <a:stretch>
              <a:fillRect/>
            </a:stretch>
          </p:blipFill>
          <p:spPr>
            <a:xfrm>
              <a:off x="8217695" y="2311622"/>
              <a:ext cx="3705225" cy="2505075"/>
            </a:xfrm>
            <a:prstGeom prst="rect">
              <a:avLst/>
            </a:prstGeom>
          </p:spPr>
        </p:pic>
        <p:sp>
          <p:nvSpPr>
            <p:cNvPr id="8" name="TextBox 7">
              <a:extLst>
                <a:ext uri="{FF2B5EF4-FFF2-40B4-BE49-F238E27FC236}">
                  <a16:creationId xmlns:a16="http://schemas.microsoft.com/office/drawing/2014/main" id="{7A394DE8-8207-5847-0FB7-1AD2CDEBE641}"/>
                </a:ext>
              </a:extLst>
            </p:cNvPr>
            <p:cNvSpPr txBox="1"/>
            <p:nvPr/>
          </p:nvSpPr>
          <p:spPr>
            <a:xfrm>
              <a:off x="8769370" y="2105012"/>
              <a:ext cx="3007605" cy="225606"/>
            </a:xfrm>
            <a:prstGeom prst="rect">
              <a:avLst/>
            </a:prstGeom>
            <a:noFill/>
          </p:spPr>
          <p:txBody>
            <a:bodyPr wrap="square" rtlCol="0">
              <a:spAutoFit/>
            </a:bodyPr>
            <a:lstStyle/>
            <a:p>
              <a:pPr algn="ctr"/>
              <a:r>
                <a:rPr lang="en-US" sz="1600" b="1"/>
                <a:t>Approval Status based on Loan Amount Term</a:t>
              </a:r>
            </a:p>
          </p:txBody>
        </p:sp>
      </p:grpSp>
    </p:spTree>
    <p:extLst>
      <p:ext uri="{BB962C8B-B14F-4D97-AF65-F5344CB8AC3E}">
        <p14:creationId xmlns:p14="http://schemas.microsoft.com/office/powerpoint/2010/main" val="274547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peech Bubble: Rectangle 7">
            <a:extLst>
              <a:ext uri="{FF2B5EF4-FFF2-40B4-BE49-F238E27FC236}">
                <a16:creationId xmlns:a16="http://schemas.microsoft.com/office/drawing/2014/main" id="{CF0DC2B2-5EF3-68F0-352C-11AD919ED993}"/>
              </a:ext>
            </a:extLst>
          </p:cNvPr>
          <p:cNvSpPr/>
          <p:nvPr/>
        </p:nvSpPr>
        <p:spPr bwMode="gray">
          <a:xfrm>
            <a:off x="784364" y="2041427"/>
            <a:ext cx="3082815" cy="3432943"/>
          </a:xfrm>
          <a:prstGeom prst="wedgeRectCallout">
            <a:avLst>
              <a:gd name="adj1" fmla="val 32353"/>
              <a:gd name="adj2" fmla="val 60714"/>
            </a:avLst>
          </a:prstGeom>
          <a:solidFill>
            <a:srgbClr val="5BA3D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a:solidFill>
                <a:schemeClr val="bg1"/>
              </a:solidFill>
            </a:endParaRPr>
          </a:p>
        </p:txBody>
      </p:sp>
      <p:sp>
        <p:nvSpPr>
          <p:cNvPr id="10" name="Speech Bubble: Rectangle 9">
            <a:extLst>
              <a:ext uri="{FF2B5EF4-FFF2-40B4-BE49-F238E27FC236}">
                <a16:creationId xmlns:a16="http://schemas.microsoft.com/office/drawing/2014/main" id="{9E23B701-A4C4-C015-7B9D-6558B5226191}"/>
              </a:ext>
            </a:extLst>
          </p:cNvPr>
          <p:cNvSpPr/>
          <p:nvPr/>
        </p:nvSpPr>
        <p:spPr bwMode="gray">
          <a:xfrm>
            <a:off x="8274267" y="2032134"/>
            <a:ext cx="3082815" cy="3432943"/>
          </a:xfrm>
          <a:prstGeom prst="wedgeRectCallout">
            <a:avLst>
              <a:gd name="adj1" fmla="val 32353"/>
              <a:gd name="adj2" fmla="val 60714"/>
            </a:avLst>
          </a:prstGeom>
          <a:solidFill>
            <a:srgbClr val="007680"/>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1300" b="1">
              <a:solidFill>
                <a:schemeClr val="bg1"/>
              </a:solidFill>
            </a:endParaRPr>
          </a:p>
        </p:txBody>
      </p:sp>
      <p:sp>
        <p:nvSpPr>
          <p:cNvPr id="14" name="Speech Bubble: Rectangle 13">
            <a:extLst>
              <a:ext uri="{FF2B5EF4-FFF2-40B4-BE49-F238E27FC236}">
                <a16:creationId xmlns:a16="http://schemas.microsoft.com/office/drawing/2014/main" id="{DE6C4283-CE20-FE99-8D1C-4CC0416A4F2E}"/>
              </a:ext>
            </a:extLst>
          </p:cNvPr>
          <p:cNvSpPr/>
          <p:nvPr/>
        </p:nvSpPr>
        <p:spPr bwMode="gray">
          <a:xfrm>
            <a:off x="4529315" y="2041427"/>
            <a:ext cx="3082815" cy="3432943"/>
          </a:xfrm>
          <a:prstGeom prst="wedgeRectCallout">
            <a:avLst>
              <a:gd name="adj1" fmla="val 32353"/>
              <a:gd name="adj2" fmla="val 60714"/>
            </a:avLst>
          </a:prstGeom>
          <a:solidFill>
            <a:srgbClr val="8EBE6E"/>
          </a:solidFill>
          <a:ln w="19050" algn="ctr">
            <a:noFill/>
            <a:miter lim="800000"/>
            <a:headEnd/>
            <a:tailEnd/>
          </a:ln>
        </p:spPr>
        <p:txBody>
          <a:bodyPr wrap="square" lIns="72231" tIns="72231" rIns="72231" bIns="72231" rtlCol="0" anchor="ctr"/>
          <a:lstStyle/>
          <a:p>
            <a:pPr algn="ctr">
              <a:lnSpc>
                <a:spcPct val="106000"/>
              </a:lnSpc>
            </a:pPr>
            <a:endParaRPr lang="en-US">
              <a:solidFill>
                <a:srgbClr val="FFFFFF"/>
              </a:solidFill>
              <a:cs typeface="Calibri"/>
            </a:endParaRPr>
          </a:p>
        </p:txBody>
      </p:sp>
      <p:sp>
        <p:nvSpPr>
          <p:cNvPr id="16" name="TextBox 15">
            <a:extLst>
              <a:ext uri="{FF2B5EF4-FFF2-40B4-BE49-F238E27FC236}">
                <a16:creationId xmlns:a16="http://schemas.microsoft.com/office/drawing/2014/main" id="{A19B34AF-B5CA-A1DB-35CB-5B225531ECC0}"/>
              </a:ext>
            </a:extLst>
          </p:cNvPr>
          <p:cNvSpPr txBox="1"/>
          <p:nvPr/>
        </p:nvSpPr>
        <p:spPr>
          <a:xfrm>
            <a:off x="8442037" y="2671387"/>
            <a:ext cx="2724727" cy="215443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buSzPct val="100000"/>
            </a:pPr>
            <a:r>
              <a:rPr lang="en-US" sz="2800" b="1">
                <a:solidFill>
                  <a:schemeClr val="bg1"/>
                </a:solidFill>
              </a:rPr>
              <a:t>Reduces Hours Spent by Underwriters Reviewing Loan Applications</a:t>
            </a:r>
            <a:endParaRPr lang="en-US" sz="2800" b="1">
              <a:solidFill>
                <a:srgbClr val="FFFFFF"/>
              </a:solidFill>
              <a:cs typeface="Calibri"/>
            </a:endParaRPr>
          </a:p>
        </p:txBody>
      </p:sp>
      <p:sp>
        <p:nvSpPr>
          <p:cNvPr id="18" name="TextBox 17">
            <a:extLst>
              <a:ext uri="{FF2B5EF4-FFF2-40B4-BE49-F238E27FC236}">
                <a16:creationId xmlns:a16="http://schemas.microsoft.com/office/drawing/2014/main" id="{11E61932-BFF2-79D4-5154-4CDF26596532}"/>
              </a:ext>
            </a:extLst>
          </p:cNvPr>
          <p:cNvSpPr txBox="1"/>
          <p:nvPr/>
        </p:nvSpPr>
        <p:spPr>
          <a:xfrm>
            <a:off x="923637" y="2896124"/>
            <a:ext cx="2844799" cy="17235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800" b="1">
                <a:solidFill>
                  <a:srgbClr val="FFFFFF"/>
                </a:solidFill>
                <a:cs typeface="Calibri"/>
              </a:rPr>
              <a:t>Automatically  Identify Customers Eligible for Loans with Precision </a:t>
            </a:r>
          </a:p>
        </p:txBody>
      </p:sp>
      <p:sp>
        <p:nvSpPr>
          <p:cNvPr id="20" name="TextBox 19">
            <a:extLst>
              <a:ext uri="{FF2B5EF4-FFF2-40B4-BE49-F238E27FC236}">
                <a16:creationId xmlns:a16="http://schemas.microsoft.com/office/drawing/2014/main" id="{0B09B089-4B75-9344-06D0-2D3719EBBE91}"/>
              </a:ext>
            </a:extLst>
          </p:cNvPr>
          <p:cNvSpPr txBox="1"/>
          <p:nvPr/>
        </p:nvSpPr>
        <p:spPr>
          <a:xfrm>
            <a:off x="4705927" y="2896124"/>
            <a:ext cx="2780146" cy="17235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2800" b="1">
                <a:solidFill>
                  <a:schemeClr val="bg1"/>
                </a:solidFill>
              </a:rPr>
              <a:t>Instantly Deny Loan Applications or Submit for Further Review</a:t>
            </a:r>
            <a:endParaRPr lang="en-US" sz="2800" b="1"/>
          </a:p>
        </p:txBody>
      </p:sp>
      <p:sp>
        <p:nvSpPr>
          <p:cNvPr id="23" name="TextBox 22">
            <a:extLst>
              <a:ext uri="{FF2B5EF4-FFF2-40B4-BE49-F238E27FC236}">
                <a16:creationId xmlns:a16="http://schemas.microsoft.com/office/drawing/2014/main" id="{54E3B55A-1731-C913-CF06-8BA7566096E7}"/>
              </a:ext>
            </a:extLst>
          </p:cNvPr>
          <p:cNvSpPr txBox="1"/>
          <p:nvPr/>
        </p:nvSpPr>
        <p:spPr>
          <a:xfrm>
            <a:off x="1161586" y="913780"/>
            <a:ext cx="9432072" cy="6771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4400">
                <a:solidFill>
                  <a:srgbClr val="313131"/>
                </a:solidFill>
                <a:cs typeface="Calibri"/>
              </a:rPr>
              <a:t>Final Solution Advantages  </a:t>
            </a:r>
            <a:endParaRPr lang="en-US" sz="4400"/>
          </a:p>
        </p:txBody>
      </p:sp>
    </p:spTree>
    <p:extLst>
      <p:ext uri="{BB962C8B-B14F-4D97-AF65-F5344CB8AC3E}">
        <p14:creationId xmlns:p14="http://schemas.microsoft.com/office/powerpoint/2010/main" val="23054786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descr="Badge Question Mark with solid fill">
            <a:extLst>
              <a:ext uri="{FF2B5EF4-FFF2-40B4-BE49-F238E27FC236}">
                <a16:creationId xmlns:a16="http://schemas.microsoft.com/office/drawing/2014/main" id="{896D52E0-4290-1768-7BA0-9E792FB34E9D}"/>
              </a:ext>
            </a:extLst>
          </p:cNvPr>
          <p:cNvPicPr>
            <a:picLocks noChangeAspect="1"/>
          </p:cNvPicPr>
          <p:nvPr/>
        </p:nvPicPr>
        <p:blipFill>
          <a:blip r:embed="rId3">
            <a:alphaModFix amt="59000"/>
            <a:extLst>
              <a:ext uri="{96DAC541-7B7A-43D3-8B79-37D633B846F1}">
                <asvg:svgBlip xmlns:asvg="http://schemas.microsoft.com/office/drawing/2016/SVG/main" r:embed="rId4"/>
              </a:ext>
            </a:extLst>
          </a:blip>
          <a:stretch>
            <a:fillRect/>
          </a:stretch>
        </p:blipFill>
        <p:spPr>
          <a:xfrm>
            <a:off x="7079166" y="1345581"/>
            <a:ext cx="5588618" cy="5588618"/>
          </a:xfrm>
          <a:prstGeom prst="rect">
            <a:avLst/>
          </a:prstGeom>
        </p:spPr>
      </p:pic>
      <p:sp>
        <p:nvSpPr>
          <p:cNvPr id="3" name="TextBox 2">
            <a:extLst>
              <a:ext uri="{FF2B5EF4-FFF2-40B4-BE49-F238E27FC236}">
                <a16:creationId xmlns:a16="http://schemas.microsoft.com/office/drawing/2014/main" id="{5FD9F3B9-799E-8396-4814-E9372786506C}"/>
              </a:ext>
            </a:extLst>
          </p:cNvPr>
          <p:cNvSpPr txBox="1"/>
          <p:nvPr/>
        </p:nvSpPr>
        <p:spPr>
          <a:xfrm>
            <a:off x="2103864" y="1871547"/>
            <a:ext cx="7501053" cy="27853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lgn="ctr">
              <a:spcBef>
                <a:spcPts val="600"/>
              </a:spcBef>
              <a:buSzPct val="100000"/>
              <a:buFont typeface="Arial"/>
            </a:pPr>
            <a:r>
              <a:rPr lang="en-US" sz="8800"/>
              <a:t>Thank You! </a:t>
            </a:r>
            <a:endParaRPr lang="en-US">
              <a:cs typeface="Calibri"/>
            </a:endParaRPr>
          </a:p>
          <a:p>
            <a:pPr marL="203200" indent="-203200" algn="ctr">
              <a:spcBef>
                <a:spcPts val="600"/>
              </a:spcBef>
              <a:buFont typeface="Arial"/>
            </a:pPr>
            <a:r>
              <a:rPr lang="en-US" sz="8800"/>
              <a:t>Any Questions? </a:t>
            </a:r>
            <a:endParaRPr lang="en-US">
              <a:cs typeface="Calibri"/>
            </a:endParaRPr>
          </a:p>
        </p:txBody>
      </p:sp>
    </p:spTree>
    <p:extLst>
      <p:ext uri="{BB962C8B-B14F-4D97-AF65-F5344CB8AC3E}">
        <p14:creationId xmlns:p14="http://schemas.microsoft.com/office/powerpoint/2010/main" val="313352873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7201" y="489527"/>
            <a:ext cx="11201401" cy="342900"/>
          </a:xfrm>
        </p:spPr>
        <p:txBody>
          <a:bodyPr/>
          <a:lstStyle/>
          <a:p>
            <a:r>
              <a:rPr lang="en-US">
                <a:latin typeface="+mn-lt"/>
              </a:rPr>
              <a:t>Agenda</a:t>
            </a:r>
          </a:p>
        </p:txBody>
      </p:sp>
      <p:sp>
        <p:nvSpPr>
          <p:cNvPr id="2" name="Rectangle 1">
            <a:hlinkClick r:id="" action="ppaction://noaction"/>
            <a:extLst>
              <a:ext uri="{FF2B5EF4-FFF2-40B4-BE49-F238E27FC236}">
                <a16:creationId xmlns:a16="http://schemas.microsoft.com/office/drawing/2014/main" id="{29AAFBA2-FC8F-4650-86AD-46C95B937B46}"/>
              </a:ext>
            </a:extLst>
          </p:cNvPr>
          <p:cNvSpPr/>
          <p:nvPr/>
        </p:nvSpPr>
        <p:spPr bwMode="gray">
          <a:xfrm>
            <a:off x="243149" y="2699548"/>
            <a:ext cx="1523302" cy="1770637"/>
          </a:xfrm>
          <a:prstGeom prst="rect">
            <a:avLst/>
          </a:prstGeom>
          <a:solidFill>
            <a:srgbClr val="8EBE6E"/>
          </a:solidFill>
          <a:ln w="19050" algn="ctr">
            <a:noFill/>
            <a:miter lim="800000"/>
            <a:headEnd/>
            <a:tailEnd/>
          </a:ln>
        </p:spPr>
        <p:txBody>
          <a:bodyPr wrap="square" lIns="72231" tIns="72231" rIns="72231" bIns="72231" rtlCol="0" anchor="ctr"/>
          <a:lstStyle/>
          <a:p>
            <a:pPr algn="ctr">
              <a:lnSpc>
                <a:spcPct val="106000"/>
              </a:lnSpc>
              <a:buFont typeface="Wingdings 2" pitchFamily="18" charset="2"/>
            </a:pPr>
            <a:r>
              <a:rPr lang="en-US" sz="1450" b="1"/>
              <a:t>Overview</a:t>
            </a:r>
            <a:endParaRPr lang="en-US" sz="1450" b="1">
              <a:cs typeface="Calibri"/>
            </a:endParaRPr>
          </a:p>
        </p:txBody>
      </p:sp>
      <p:sp>
        <p:nvSpPr>
          <p:cNvPr id="5" name="Rectangle 4">
            <a:hlinkClick r:id="" action="ppaction://noaction"/>
            <a:extLst>
              <a:ext uri="{FF2B5EF4-FFF2-40B4-BE49-F238E27FC236}">
                <a16:creationId xmlns:a16="http://schemas.microsoft.com/office/drawing/2014/main" id="{A8955FF1-0CD5-4A56-BCD3-08FD69929E07}"/>
              </a:ext>
            </a:extLst>
          </p:cNvPr>
          <p:cNvSpPr/>
          <p:nvPr/>
        </p:nvSpPr>
        <p:spPr bwMode="gray">
          <a:xfrm>
            <a:off x="1946411" y="2699548"/>
            <a:ext cx="1523302" cy="1770637"/>
          </a:xfrm>
          <a:prstGeom prst="rect">
            <a:avLst/>
          </a:prstGeom>
          <a:solidFill>
            <a:srgbClr val="007680"/>
          </a:solidFill>
          <a:ln w="19050" algn="ctr">
            <a:noFill/>
            <a:miter lim="800000"/>
            <a:headEnd/>
            <a:tailEnd/>
          </a:ln>
        </p:spPr>
        <p:txBody>
          <a:bodyPr wrap="square" lIns="72231" tIns="72231" rIns="72231" bIns="72231" rtlCol="0" anchor="ctr"/>
          <a:lstStyle/>
          <a:p>
            <a:pPr algn="ctr">
              <a:lnSpc>
                <a:spcPct val="106000"/>
              </a:lnSpc>
            </a:pPr>
            <a:endParaRPr lang="en-US" sz="1450">
              <a:cs typeface="Calibri"/>
            </a:endParaRPr>
          </a:p>
          <a:p>
            <a:pPr algn="ctr">
              <a:lnSpc>
                <a:spcPct val="106000"/>
              </a:lnSpc>
            </a:pPr>
            <a:r>
              <a:rPr lang="en-US" sz="1450" b="1">
                <a:cs typeface="Calibri"/>
              </a:rPr>
              <a:t>Modeling Techniques Utilized</a:t>
            </a:r>
            <a:endParaRPr lang="en-US" sz="3250" b="1">
              <a:cs typeface="Calibri"/>
            </a:endParaRPr>
          </a:p>
          <a:p>
            <a:pPr algn="ctr">
              <a:lnSpc>
                <a:spcPct val="106000"/>
              </a:lnSpc>
            </a:pPr>
            <a:endParaRPr lang="en-US" sz="1463"/>
          </a:p>
        </p:txBody>
      </p:sp>
      <p:sp>
        <p:nvSpPr>
          <p:cNvPr id="6" name="Rectangle 5">
            <a:hlinkClick r:id="" action="ppaction://noaction"/>
            <a:extLst>
              <a:ext uri="{FF2B5EF4-FFF2-40B4-BE49-F238E27FC236}">
                <a16:creationId xmlns:a16="http://schemas.microsoft.com/office/drawing/2014/main" id="{C41F7D27-8EDD-4566-9BA4-EB0FE55BC221}"/>
              </a:ext>
            </a:extLst>
          </p:cNvPr>
          <p:cNvSpPr/>
          <p:nvPr/>
        </p:nvSpPr>
        <p:spPr bwMode="gray">
          <a:xfrm>
            <a:off x="3621795" y="2699548"/>
            <a:ext cx="1523302" cy="1770637"/>
          </a:xfrm>
          <a:prstGeom prst="rect">
            <a:avLst/>
          </a:prstGeom>
          <a:solidFill>
            <a:schemeClr val="accent3"/>
          </a:solidFill>
          <a:ln w="19050" algn="ctr">
            <a:noFill/>
            <a:miter lim="800000"/>
            <a:headEnd/>
            <a:tailEnd/>
          </a:ln>
        </p:spPr>
        <p:txBody>
          <a:bodyPr wrap="square" lIns="72231" tIns="72231" rIns="72231" bIns="72231" rtlCol="0" anchor="ctr"/>
          <a:lstStyle/>
          <a:p>
            <a:pPr algn="ctr">
              <a:lnSpc>
                <a:spcPct val="106000"/>
              </a:lnSpc>
            </a:pPr>
            <a:endParaRPr lang="en-US" sz="3250">
              <a:cs typeface="Calibri"/>
            </a:endParaRPr>
          </a:p>
          <a:p>
            <a:pPr algn="ctr">
              <a:lnSpc>
                <a:spcPct val="106000"/>
              </a:lnSpc>
            </a:pPr>
            <a:r>
              <a:rPr lang="en-US" sz="1450" b="1">
                <a:cs typeface="Calibri"/>
              </a:rPr>
              <a:t>Data Features</a:t>
            </a:r>
          </a:p>
          <a:p>
            <a:pPr algn="ctr">
              <a:lnSpc>
                <a:spcPct val="106000"/>
              </a:lnSpc>
              <a:buFont typeface="Wingdings 2" pitchFamily="18" charset="2"/>
              <a:buNone/>
            </a:pPr>
            <a:endParaRPr lang="en-US" sz="1463"/>
          </a:p>
          <a:p>
            <a:pPr algn="ctr">
              <a:lnSpc>
                <a:spcPct val="106000"/>
              </a:lnSpc>
              <a:buFont typeface="Wingdings 2" pitchFamily="18" charset="2"/>
              <a:buNone/>
            </a:pPr>
            <a:endParaRPr lang="en-US" sz="1463"/>
          </a:p>
        </p:txBody>
      </p:sp>
      <p:sp>
        <p:nvSpPr>
          <p:cNvPr id="7" name="Rectangle 6">
            <a:hlinkClick r:id="" action="ppaction://noaction"/>
            <a:extLst>
              <a:ext uri="{FF2B5EF4-FFF2-40B4-BE49-F238E27FC236}">
                <a16:creationId xmlns:a16="http://schemas.microsoft.com/office/drawing/2014/main" id="{B35E0EB8-22CF-4E45-AEA0-02D21C8467F4}"/>
              </a:ext>
            </a:extLst>
          </p:cNvPr>
          <p:cNvSpPr/>
          <p:nvPr/>
        </p:nvSpPr>
        <p:spPr bwMode="gray">
          <a:xfrm>
            <a:off x="5306473" y="2699548"/>
            <a:ext cx="1523301" cy="1770637"/>
          </a:xfrm>
          <a:prstGeom prst="rect">
            <a:avLst/>
          </a:prstGeom>
          <a:solidFill>
            <a:srgbClr val="5BA3D4"/>
          </a:solidFill>
          <a:ln w="19050" algn="ctr">
            <a:noFill/>
            <a:miter lim="800000"/>
            <a:headEnd/>
            <a:tailEnd/>
          </a:ln>
        </p:spPr>
        <p:txBody>
          <a:bodyPr wrap="square" lIns="72231" tIns="72231" rIns="72231" bIns="72231" rtlCol="0" anchor="ctr"/>
          <a:lstStyle/>
          <a:p>
            <a:pPr algn="ctr">
              <a:lnSpc>
                <a:spcPct val="106000"/>
              </a:lnSpc>
            </a:pPr>
            <a:r>
              <a:rPr lang="en-US" sz="1500" b="1"/>
              <a:t>Exploratory Data Analysis &amp; Data Cleaning</a:t>
            </a:r>
            <a:endParaRPr lang="en-US" sz="1500" b="1">
              <a:cs typeface="Calibri"/>
            </a:endParaRPr>
          </a:p>
        </p:txBody>
      </p:sp>
      <p:sp>
        <p:nvSpPr>
          <p:cNvPr id="9" name="Rectangle 8">
            <a:hlinkClick r:id="" action="ppaction://noaction"/>
            <a:extLst>
              <a:ext uri="{FF2B5EF4-FFF2-40B4-BE49-F238E27FC236}">
                <a16:creationId xmlns:a16="http://schemas.microsoft.com/office/drawing/2014/main" id="{2C6BE2B8-370E-4B27-8AD2-EB5751308E8B}"/>
              </a:ext>
            </a:extLst>
          </p:cNvPr>
          <p:cNvSpPr/>
          <p:nvPr/>
        </p:nvSpPr>
        <p:spPr bwMode="gray">
          <a:xfrm>
            <a:off x="6981858" y="2699548"/>
            <a:ext cx="1523301" cy="1770637"/>
          </a:xfrm>
          <a:prstGeom prst="rect">
            <a:avLst/>
          </a:prstGeom>
          <a:solidFill>
            <a:srgbClr val="C4D600"/>
          </a:solidFill>
          <a:ln w="19050" algn="ctr">
            <a:noFill/>
            <a:miter lim="800000"/>
            <a:headEnd/>
            <a:tailEnd/>
          </a:ln>
        </p:spPr>
        <p:txBody>
          <a:bodyPr wrap="square" lIns="72231" tIns="72231" rIns="72231" bIns="72231" rtlCol="0" anchor="ctr"/>
          <a:lstStyle/>
          <a:p>
            <a:pPr algn="ctr">
              <a:lnSpc>
                <a:spcPct val="106000"/>
              </a:lnSpc>
            </a:pPr>
            <a:endParaRPr lang="en-US" sz="1500">
              <a:cs typeface="Calibri"/>
            </a:endParaRPr>
          </a:p>
          <a:p>
            <a:pPr algn="ctr">
              <a:lnSpc>
                <a:spcPct val="106000"/>
              </a:lnSpc>
            </a:pPr>
            <a:endParaRPr lang="en-US" sz="1500">
              <a:cs typeface="Calibri"/>
            </a:endParaRPr>
          </a:p>
          <a:p>
            <a:pPr algn="ctr">
              <a:lnSpc>
                <a:spcPct val="106000"/>
              </a:lnSpc>
            </a:pPr>
            <a:endParaRPr lang="en-US" sz="1500">
              <a:cs typeface="Calibri"/>
            </a:endParaRPr>
          </a:p>
          <a:p>
            <a:pPr algn="ctr">
              <a:lnSpc>
                <a:spcPct val="106000"/>
              </a:lnSpc>
            </a:pPr>
            <a:r>
              <a:rPr lang="en-US" sz="1500" b="1">
                <a:cs typeface="Calibri"/>
              </a:rPr>
              <a:t>Machine Learning Models </a:t>
            </a:r>
            <a:endParaRPr lang="en-US" b="1"/>
          </a:p>
          <a:p>
            <a:pPr algn="ctr">
              <a:lnSpc>
                <a:spcPct val="106000"/>
              </a:lnSpc>
              <a:buFont typeface="Wingdings 2" pitchFamily="18" charset="2"/>
              <a:buNone/>
            </a:pPr>
            <a:endParaRPr lang="en-US" sz="1450">
              <a:cs typeface="Calibri"/>
            </a:endParaRPr>
          </a:p>
          <a:p>
            <a:pPr algn="ctr">
              <a:lnSpc>
                <a:spcPct val="106000"/>
              </a:lnSpc>
              <a:buFont typeface="Wingdings 2" pitchFamily="18" charset="2"/>
              <a:buNone/>
            </a:pPr>
            <a:endParaRPr lang="en-US" sz="1463"/>
          </a:p>
          <a:p>
            <a:pPr algn="ctr">
              <a:lnSpc>
                <a:spcPct val="106000"/>
              </a:lnSpc>
              <a:buFont typeface="Wingdings 2" pitchFamily="18" charset="2"/>
              <a:buNone/>
            </a:pPr>
            <a:endParaRPr lang="en-US" sz="1463"/>
          </a:p>
        </p:txBody>
      </p:sp>
      <p:sp>
        <p:nvSpPr>
          <p:cNvPr id="11" name="Rectangle 10">
            <a:hlinkClick r:id="" action="ppaction://noaction"/>
            <a:extLst>
              <a:ext uri="{FF2B5EF4-FFF2-40B4-BE49-F238E27FC236}">
                <a16:creationId xmlns:a16="http://schemas.microsoft.com/office/drawing/2014/main" id="{B6878C4C-3FAB-4BB8-A1F3-3C7F004303F2}"/>
              </a:ext>
            </a:extLst>
          </p:cNvPr>
          <p:cNvSpPr/>
          <p:nvPr/>
        </p:nvSpPr>
        <p:spPr bwMode="gray">
          <a:xfrm>
            <a:off x="10369797" y="2699548"/>
            <a:ext cx="1523302" cy="1770637"/>
          </a:xfrm>
          <a:prstGeom prst="rect">
            <a:avLst/>
          </a:prstGeom>
          <a:solidFill>
            <a:schemeClr val="bg2">
              <a:lumMod val="75000"/>
            </a:schemeClr>
          </a:solidFill>
          <a:ln w="19050" algn="ctr">
            <a:noFill/>
            <a:miter lim="800000"/>
            <a:headEnd/>
            <a:tailEnd/>
          </a:ln>
        </p:spPr>
        <p:txBody>
          <a:bodyPr wrap="square" lIns="72231" tIns="72231" rIns="72231" bIns="72231" rtlCol="0" anchor="ctr"/>
          <a:lstStyle/>
          <a:p>
            <a:pPr algn="ctr">
              <a:lnSpc>
                <a:spcPct val="106000"/>
              </a:lnSpc>
            </a:pPr>
            <a:endParaRPr lang="en-US" sz="3250">
              <a:cs typeface="Calibri"/>
            </a:endParaRPr>
          </a:p>
          <a:p>
            <a:pPr algn="ctr">
              <a:lnSpc>
                <a:spcPct val="106000"/>
              </a:lnSpc>
              <a:buFont typeface="Wingdings 2" pitchFamily="18" charset="2"/>
              <a:buNone/>
            </a:pPr>
            <a:r>
              <a:rPr lang="en-US" sz="1400" b="1">
                <a:cs typeface="Calibri"/>
              </a:rPr>
              <a:t>Questions</a:t>
            </a:r>
          </a:p>
          <a:p>
            <a:pPr algn="ctr">
              <a:lnSpc>
                <a:spcPct val="106000"/>
              </a:lnSpc>
              <a:buFont typeface="Wingdings 2" pitchFamily="18" charset="2"/>
              <a:buNone/>
            </a:pPr>
            <a:endParaRPr lang="en-US" sz="1463"/>
          </a:p>
          <a:p>
            <a:pPr algn="ctr">
              <a:lnSpc>
                <a:spcPct val="106000"/>
              </a:lnSpc>
              <a:buFont typeface="Wingdings 2" pitchFamily="18" charset="2"/>
              <a:buNone/>
            </a:pPr>
            <a:endParaRPr lang="en-US" sz="1463"/>
          </a:p>
        </p:txBody>
      </p:sp>
      <p:sp>
        <p:nvSpPr>
          <p:cNvPr id="13" name="Rectangle 12">
            <a:hlinkClick r:id="" action="ppaction://noaction"/>
            <a:extLst>
              <a:ext uri="{FF2B5EF4-FFF2-40B4-BE49-F238E27FC236}">
                <a16:creationId xmlns:a16="http://schemas.microsoft.com/office/drawing/2014/main" id="{9EF20069-F198-4B18-8AED-BF724343DC8E}"/>
              </a:ext>
            </a:extLst>
          </p:cNvPr>
          <p:cNvSpPr/>
          <p:nvPr/>
        </p:nvSpPr>
        <p:spPr bwMode="gray">
          <a:xfrm>
            <a:off x="8666533" y="2699548"/>
            <a:ext cx="1523301" cy="1770637"/>
          </a:xfrm>
          <a:prstGeom prst="rect">
            <a:avLst/>
          </a:prstGeom>
          <a:solidFill>
            <a:srgbClr val="6FC2B4"/>
          </a:solidFill>
          <a:ln w="19050" algn="ctr">
            <a:noFill/>
            <a:miter lim="800000"/>
            <a:headEnd/>
            <a:tailEnd/>
          </a:ln>
        </p:spPr>
        <p:txBody>
          <a:bodyPr wrap="square" lIns="72231" tIns="72231" rIns="72231" bIns="72231" rtlCol="0" anchor="ctr"/>
          <a:lstStyle/>
          <a:p>
            <a:pPr algn="ctr">
              <a:lnSpc>
                <a:spcPct val="106000"/>
              </a:lnSpc>
              <a:buFont typeface="Wingdings 2" pitchFamily="18" charset="2"/>
              <a:buNone/>
            </a:pPr>
            <a:endParaRPr lang="en-US" sz="3250">
              <a:cs typeface="Calibri"/>
            </a:endParaRPr>
          </a:p>
          <a:p>
            <a:pPr algn="ctr">
              <a:lnSpc>
                <a:spcPct val="106000"/>
              </a:lnSpc>
            </a:pPr>
            <a:r>
              <a:rPr lang="en-US" sz="1400" b="1">
                <a:cs typeface="Calibri"/>
              </a:rPr>
              <a:t>Results &amp; Final Solution Advantages</a:t>
            </a:r>
          </a:p>
          <a:p>
            <a:pPr algn="ctr">
              <a:lnSpc>
                <a:spcPct val="106000"/>
              </a:lnSpc>
              <a:buFont typeface="Wingdings 2" pitchFamily="18" charset="2"/>
            </a:pPr>
            <a:endParaRPr lang="en-US" sz="1463"/>
          </a:p>
          <a:p>
            <a:pPr algn="ctr">
              <a:lnSpc>
                <a:spcPct val="106000"/>
              </a:lnSpc>
              <a:buFont typeface="Wingdings 2" pitchFamily="18" charset="2"/>
              <a:buNone/>
            </a:pPr>
            <a:endParaRPr lang="en-US" sz="1463"/>
          </a:p>
        </p:txBody>
      </p:sp>
      <p:cxnSp>
        <p:nvCxnSpPr>
          <p:cNvPr id="4" name="Straight Connector 3">
            <a:extLst>
              <a:ext uri="{FF2B5EF4-FFF2-40B4-BE49-F238E27FC236}">
                <a16:creationId xmlns:a16="http://schemas.microsoft.com/office/drawing/2014/main" id="{B9892519-8509-408D-B9D7-A32506B847E9}"/>
              </a:ext>
            </a:extLst>
          </p:cNvPr>
          <p:cNvCxnSpPr/>
          <p:nvPr/>
        </p:nvCxnSpPr>
        <p:spPr>
          <a:xfrm>
            <a:off x="467201" y="1234927"/>
            <a:ext cx="10997514" cy="0"/>
          </a:xfrm>
          <a:prstGeom prst="line">
            <a:avLst/>
          </a:prstGeom>
          <a:ln w="44450"/>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9183084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5" y="176965"/>
            <a:ext cx="10555609" cy="830998"/>
          </a:xfrm>
        </p:spPr>
        <p:txBody>
          <a:bodyPr>
            <a:noAutofit/>
          </a:bodyPr>
          <a:lstStyle/>
          <a:p>
            <a:r>
              <a:rPr lang="en-US">
                <a:latin typeface="+mn-lt"/>
              </a:rPr>
              <a:t>Dream Housing Finance Company Overview</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 name="Right Arrow 48">
            <a:extLst>
              <a:ext uri="{FF2B5EF4-FFF2-40B4-BE49-F238E27FC236}">
                <a16:creationId xmlns:a16="http://schemas.microsoft.com/office/drawing/2014/main" id="{C25DF364-BC23-BA19-B841-28E71D73CA04}"/>
              </a:ext>
            </a:extLst>
          </p:cNvPr>
          <p:cNvSpPr/>
          <p:nvPr/>
        </p:nvSpPr>
        <p:spPr>
          <a:xfrm>
            <a:off x="0" y="2039243"/>
            <a:ext cx="9999133" cy="1784875"/>
          </a:xfrm>
          <a:prstGeom prst="rightArrow">
            <a:avLst>
              <a:gd name="adj1" fmla="val 66450"/>
              <a:gd name="adj2" fmla="val 50000"/>
            </a:avLst>
          </a:prstGeom>
          <a:solidFill>
            <a:srgbClr val="5BA3D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a:solidFill>
                <a:schemeClr val="tx2"/>
              </a:solidFill>
            </a:endParaRPr>
          </a:p>
        </p:txBody>
      </p:sp>
      <p:sp>
        <p:nvSpPr>
          <p:cNvPr id="24" name="Right Arrow 49">
            <a:extLst>
              <a:ext uri="{FF2B5EF4-FFF2-40B4-BE49-F238E27FC236}">
                <a16:creationId xmlns:a16="http://schemas.microsoft.com/office/drawing/2014/main" id="{F33B3DAA-0162-3E21-78AD-566C21C5D4DB}"/>
              </a:ext>
            </a:extLst>
          </p:cNvPr>
          <p:cNvSpPr/>
          <p:nvPr/>
        </p:nvSpPr>
        <p:spPr>
          <a:xfrm>
            <a:off x="0" y="4104018"/>
            <a:ext cx="11425473" cy="1784875"/>
          </a:xfrm>
          <a:prstGeom prst="rightArrow">
            <a:avLst>
              <a:gd name="adj1" fmla="val 66450"/>
              <a:gd name="adj2" fmla="val 50000"/>
            </a:avLst>
          </a:prstGeom>
          <a:solidFill>
            <a:srgbClr val="8EBE6E"/>
          </a:solidFill>
          <a:ln w="12700">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2" name="Flowchart: Data 9">
            <a:extLst>
              <a:ext uri="{FF2B5EF4-FFF2-40B4-BE49-F238E27FC236}">
                <a16:creationId xmlns:a16="http://schemas.microsoft.com/office/drawing/2014/main" id="{B779768A-4285-AF35-DF87-30217F93ED1B}"/>
              </a:ext>
            </a:extLst>
          </p:cNvPr>
          <p:cNvSpPr/>
          <p:nvPr/>
        </p:nvSpPr>
        <p:spPr>
          <a:xfrm rot="20746817">
            <a:off x="6399" y="1909215"/>
            <a:ext cx="2394322" cy="3829804"/>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noAutofit/>
          </a:bodyPr>
          <a:lstStyle/>
          <a:p>
            <a:pPr algn="ctr"/>
            <a:endParaRPr lang="en-US" sz="1138" err="1">
              <a:solidFill>
                <a:schemeClr val="tx2"/>
              </a:solidFill>
            </a:endParaRPr>
          </a:p>
        </p:txBody>
      </p:sp>
      <p:sp>
        <p:nvSpPr>
          <p:cNvPr id="33" name="TextBox 32">
            <a:extLst>
              <a:ext uri="{FF2B5EF4-FFF2-40B4-BE49-F238E27FC236}">
                <a16:creationId xmlns:a16="http://schemas.microsoft.com/office/drawing/2014/main" id="{2EA6D733-2204-F422-FEA2-674256876E6B}"/>
              </a:ext>
            </a:extLst>
          </p:cNvPr>
          <p:cNvSpPr txBox="1"/>
          <p:nvPr/>
        </p:nvSpPr>
        <p:spPr>
          <a:xfrm>
            <a:off x="517934" y="2516181"/>
            <a:ext cx="1371254" cy="830997"/>
          </a:xfrm>
          <a:prstGeom prst="rect">
            <a:avLst/>
          </a:prstGeom>
          <a:noFill/>
        </p:spPr>
        <p:txBody>
          <a:bodyPr wrap="square" rtlCol="0">
            <a:spAutoFit/>
          </a:bodyPr>
          <a:lstStyle/>
          <a:p>
            <a:pPr algn="ctr"/>
            <a:r>
              <a:rPr lang="en-US" sz="2400" b="1"/>
              <a:t>Business Problem </a:t>
            </a:r>
          </a:p>
        </p:txBody>
      </p:sp>
      <p:sp>
        <p:nvSpPr>
          <p:cNvPr id="34" name="TextBox 33">
            <a:extLst>
              <a:ext uri="{FF2B5EF4-FFF2-40B4-BE49-F238E27FC236}">
                <a16:creationId xmlns:a16="http://schemas.microsoft.com/office/drawing/2014/main" id="{404302D7-A406-06E3-8B77-69C4A28316FD}"/>
              </a:ext>
            </a:extLst>
          </p:cNvPr>
          <p:cNvSpPr txBox="1"/>
          <p:nvPr/>
        </p:nvSpPr>
        <p:spPr>
          <a:xfrm>
            <a:off x="561389" y="4580955"/>
            <a:ext cx="1371254" cy="830997"/>
          </a:xfrm>
          <a:prstGeom prst="rect">
            <a:avLst/>
          </a:prstGeom>
          <a:noFill/>
        </p:spPr>
        <p:txBody>
          <a:bodyPr wrap="square" rtlCol="0">
            <a:spAutoFit/>
          </a:bodyPr>
          <a:lstStyle/>
          <a:p>
            <a:pPr algn="ctr"/>
            <a:r>
              <a:rPr lang="en-US" sz="2400" b="1"/>
              <a:t>Business Solution</a:t>
            </a:r>
          </a:p>
        </p:txBody>
      </p:sp>
      <p:sp>
        <p:nvSpPr>
          <p:cNvPr id="4" name="TextBox 3">
            <a:extLst>
              <a:ext uri="{FF2B5EF4-FFF2-40B4-BE49-F238E27FC236}">
                <a16:creationId xmlns:a16="http://schemas.microsoft.com/office/drawing/2014/main" id="{C8AABEF2-490D-68C6-09C5-8FF2E4369E4A}"/>
              </a:ext>
            </a:extLst>
          </p:cNvPr>
          <p:cNvSpPr txBox="1"/>
          <p:nvPr/>
        </p:nvSpPr>
        <p:spPr>
          <a:xfrm>
            <a:off x="2217532" y="4489969"/>
            <a:ext cx="8108694" cy="1077218"/>
          </a:xfrm>
          <a:prstGeom prst="rect">
            <a:avLst/>
          </a:prstGeom>
          <a:noFill/>
        </p:spPr>
        <p:txBody>
          <a:bodyPr wrap="square" rtlCol="0">
            <a:spAutoFit/>
          </a:bodyPr>
          <a:lstStyle/>
          <a:p>
            <a:pPr marL="285750" indent="-285750">
              <a:buFont typeface="Arial" panose="020B0604020202020204" pitchFamily="34" charset="0"/>
              <a:buChar char="•"/>
            </a:pPr>
            <a:r>
              <a:rPr lang="en-US" sz="1600">
                <a:solidFill>
                  <a:schemeClr val="bg1"/>
                </a:solidFill>
              </a:rPr>
              <a:t>Automatically identify customers that are eligible for specified loan amounts</a:t>
            </a:r>
          </a:p>
          <a:p>
            <a:pPr marL="285750" indent="-285750">
              <a:buFont typeface="Arial" panose="020B0604020202020204" pitchFamily="34" charset="0"/>
              <a:buChar char="•"/>
            </a:pPr>
            <a:r>
              <a:rPr lang="en-US" sz="1600">
                <a:solidFill>
                  <a:schemeClr val="bg1"/>
                </a:solidFill>
              </a:rPr>
              <a:t>Deny loan applications quickly</a:t>
            </a:r>
          </a:p>
          <a:p>
            <a:pPr marL="285750" indent="-285750">
              <a:buFont typeface="Arial" panose="020B0604020202020204" pitchFamily="34" charset="0"/>
              <a:buChar char="•"/>
            </a:pPr>
            <a:r>
              <a:rPr lang="en-US" sz="1600">
                <a:solidFill>
                  <a:schemeClr val="bg1"/>
                </a:solidFill>
              </a:rPr>
              <a:t>Reduce hours spent by underwriters reviewing loan applications</a:t>
            </a:r>
          </a:p>
          <a:p>
            <a:pPr marL="285750" indent="-285750">
              <a:buFont typeface="Arial" panose="020B0604020202020204" pitchFamily="34" charset="0"/>
              <a:buChar char="•"/>
            </a:pPr>
            <a:r>
              <a:rPr lang="en-US" sz="1600">
                <a:solidFill>
                  <a:schemeClr val="bg1"/>
                </a:solidFill>
              </a:rPr>
              <a:t> Increase precision of loan eligibility identification</a:t>
            </a:r>
          </a:p>
        </p:txBody>
      </p:sp>
      <p:sp>
        <p:nvSpPr>
          <p:cNvPr id="5" name="TextBox 4">
            <a:extLst>
              <a:ext uri="{FF2B5EF4-FFF2-40B4-BE49-F238E27FC236}">
                <a16:creationId xmlns:a16="http://schemas.microsoft.com/office/drawing/2014/main" id="{88F1FEC7-1AAC-D1E0-4B89-9AE201719FCB}"/>
              </a:ext>
            </a:extLst>
          </p:cNvPr>
          <p:cNvSpPr txBox="1"/>
          <p:nvPr/>
        </p:nvSpPr>
        <p:spPr>
          <a:xfrm>
            <a:off x="2100130" y="2453032"/>
            <a:ext cx="7123611" cy="800219"/>
          </a:xfrm>
          <a:prstGeom prst="rect">
            <a:avLst/>
          </a:prstGeom>
          <a:noFill/>
        </p:spPr>
        <p:txBody>
          <a:bodyPr wrap="square" rtlCol="0">
            <a:spAutoFit/>
          </a:bodyPr>
          <a:lstStyle/>
          <a:p>
            <a:endParaRPr lang="en-US" sz="1400">
              <a:solidFill>
                <a:schemeClr val="bg1"/>
              </a:solidFill>
            </a:endParaRPr>
          </a:p>
          <a:p>
            <a:r>
              <a:rPr lang="en-US" sz="1600">
                <a:solidFill>
                  <a:schemeClr val="bg1"/>
                </a:solidFill>
              </a:rPr>
              <a:t>Dream Housing Finance Company currently manually processes customer eligibility for varying loan amounts. </a:t>
            </a:r>
          </a:p>
        </p:txBody>
      </p:sp>
    </p:spTree>
    <p:extLst>
      <p:ext uri="{BB962C8B-B14F-4D97-AF65-F5344CB8AC3E}">
        <p14:creationId xmlns:p14="http://schemas.microsoft.com/office/powerpoint/2010/main" val="3639827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8B14670-D1F3-C453-DE06-D6251E0D93FA}"/>
              </a:ext>
            </a:extLst>
          </p:cNvPr>
          <p:cNvGrpSpPr/>
          <p:nvPr/>
        </p:nvGrpSpPr>
        <p:grpSpPr>
          <a:xfrm>
            <a:off x="5959950" y="117794"/>
            <a:ext cx="5038247" cy="6309360"/>
            <a:chOff x="376238" y="39754"/>
            <a:chExt cx="4802909" cy="6309360"/>
          </a:xfrm>
        </p:grpSpPr>
        <p:cxnSp>
          <p:nvCxnSpPr>
            <p:cNvPr id="6" name="Straight Arrow Connector 5">
              <a:extLst>
                <a:ext uri="{FF2B5EF4-FFF2-40B4-BE49-F238E27FC236}">
                  <a16:creationId xmlns:a16="http://schemas.microsoft.com/office/drawing/2014/main" id="{8B29C8E9-1CFC-DE29-0161-D4FC56B98296}"/>
                </a:ext>
              </a:extLst>
            </p:cNvPr>
            <p:cNvCxnSpPr>
              <a:cxnSpLocks/>
              <a:endCxn id="31" idx="2"/>
            </p:cNvCxnSpPr>
            <p:nvPr/>
          </p:nvCxnSpPr>
          <p:spPr>
            <a:xfrm>
              <a:off x="1093904" y="2874607"/>
              <a:ext cx="717503" cy="0"/>
            </a:xfrm>
            <a:prstGeom prst="straightConnector1">
              <a:avLst/>
            </a:prstGeom>
            <a:noFill/>
            <a:ln w="6350" cap="flat" cmpd="sng" algn="ctr">
              <a:solidFill>
                <a:srgbClr val="75787B"/>
              </a:solidFill>
              <a:prstDash val="solid"/>
              <a:headEnd type="none" w="med" len="med"/>
              <a:tailEnd type="triangle" w="med" len="med"/>
            </a:ln>
            <a:effectLst/>
          </p:spPr>
        </p:cxnSp>
        <p:cxnSp>
          <p:nvCxnSpPr>
            <p:cNvPr id="7" name="Straight Arrow Connector 6">
              <a:extLst>
                <a:ext uri="{FF2B5EF4-FFF2-40B4-BE49-F238E27FC236}">
                  <a16:creationId xmlns:a16="http://schemas.microsoft.com/office/drawing/2014/main" id="{8A415CF5-1C8E-9C30-5103-38503B60396E}"/>
                </a:ext>
              </a:extLst>
            </p:cNvPr>
            <p:cNvCxnSpPr>
              <a:cxnSpLocks/>
              <a:endCxn id="30" idx="2"/>
            </p:cNvCxnSpPr>
            <p:nvPr/>
          </p:nvCxnSpPr>
          <p:spPr>
            <a:xfrm>
              <a:off x="1093904" y="3514264"/>
              <a:ext cx="717503" cy="0"/>
            </a:xfrm>
            <a:prstGeom prst="straightConnector1">
              <a:avLst/>
            </a:prstGeom>
            <a:noFill/>
            <a:ln w="6350" cap="flat" cmpd="sng" algn="ctr">
              <a:solidFill>
                <a:srgbClr val="75787B"/>
              </a:solidFill>
              <a:prstDash val="solid"/>
              <a:headEnd type="none" w="med" len="med"/>
              <a:tailEnd type="triangle" w="med" len="med"/>
            </a:ln>
            <a:effectLst/>
          </p:spPr>
        </p:cxnSp>
        <p:sp>
          <p:nvSpPr>
            <p:cNvPr id="8" name="Rounded Rectangle 16">
              <a:extLst>
                <a:ext uri="{FF2B5EF4-FFF2-40B4-BE49-F238E27FC236}">
                  <a16:creationId xmlns:a16="http://schemas.microsoft.com/office/drawing/2014/main" id="{012F2977-308D-B442-DA58-21E1F0F91CC6}"/>
                </a:ext>
              </a:extLst>
            </p:cNvPr>
            <p:cNvSpPr/>
            <p:nvPr/>
          </p:nvSpPr>
          <p:spPr bwMode="gray">
            <a:xfrm>
              <a:off x="1288472"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9" name="Rounded Rectangle 17">
              <a:extLst>
                <a:ext uri="{FF2B5EF4-FFF2-40B4-BE49-F238E27FC236}">
                  <a16:creationId xmlns:a16="http://schemas.microsoft.com/office/drawing/2014/main" id="{D6E1D9AA-5EBE-BC28-A510-86AE96711574}"/>
                </a:ext>
              </a:extLst>
            </p:cNvPr>
            <p:cNvSpPr/>
            <p:nvPr/>
          </p:nvSpPr>
          <p:spPr bwMode="gray">
            <a:xfrm>
              <a:off x="1059451"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0" name="Rounded Rectangle 18">
              <a:extLst>
                <a:ext uri="{FF2B5EF4-FFF2-40B4-BE49-F238E27FC236}">
                  <a16:creationId xmlns:a16="http://schemas.microsoft.com/office/drawing/2014/main" id="{F099868F-42C4-A2CF-7B50-A30D22840DA9}"/>
                </a:ext>
              </a:extLst>
            </p:cNvPr>
            <p:cNvSpPr/>
            <p:nvPr/>
          </p:nvSpPr>
          <p:spPr bwMode="gray">
            <a:xfrm>
              <a:off x="830429"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1" name="Rounded Rectangle 19">
              <a:extLst>
                <a:ext uri="{FF2B5EF4-FFF2-40B4-BE49-F238E27FC236}">
                  <a16:creationId xmlns:a16="http://schemas.microsoft.com/office/drawing/2014/main" id="{971DE199-56FF-0C43-2334-6CB418E9DC46}"/>
                </a:ext>
              </a:extLst>
            </p:cNvPr>
            <p:cNvSpPr/>
            <p:nvPr/>
          </p:nvSpPr>
          <p:spPr bwMode="gray">
            <a:xfrm>
              <a:off x="601407" y="2890802"/>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2" name="Rounded Rectangle 20">
              <a:extLst>
                <a:ext uri="{FF2B5EF4-FFF2-40B4-BE49-F238E27FC236}">
                  <a16:creationId xmlns:a16="http://schemas.microsoft.com/office/drawing/2014/main" id="{2A614F60-0ACF-F419-061B-CCBFC3269087}"/>
                </a:ext>
              </a:extLst>
            </p:cNvPr>
            <p:cNvSpPr/>
            <p:nvPr/>
          </p:nvSpPr>
          <p:spPr bwMode="gray">
            <a:xfrm flipV="1">
              <a:off x="1288472"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3" name="Rounded Rectangle 21">
              <a:extLst>
                <a:ext uri="{FF2B5EF4-FFF2-40B4-BE49-F238E27FC236}">
                  <a16:creationId xmlns:a16="http://schemas.microsoft.com/office/drawing/2014/main" id="{F0AB3AC2-AE25-3CCF-2D04-42E872FA7BB2}"/>
                </a:ext>
              </a:extLst>
            </p:cNvPr>
            <p:cNvSpPr/>
            <p:nvPr/>
          </p:nvSpPr>
          <p:spPr bwMode="gray">
            <a:xfrm flipV="1">
              <a:off x="1059451"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4" name="Rounded Rectangle 22">
              <a:extLst>
                <a:ext uri="{FF2B5EF4-FFF2-40B4-BE49-F238E27FC236}">
                  <a16:creationId xmlns:a16="http://schemas.microsoft.com/office/drawing/2014/main" id="{A398786E-CFDB-69A4-DAF0-25EA2A325135}"/>
                </a:ext>
              </a:extLst>
            </p:cNvPr>
            <p:cNvSpPr/>
            <p:nvPr/>
          </p:nvSpPr>
          <p:spPr bwMode="gray">
            <a:xfrm flipV="1">
              <a:off x="830429"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5" name="Rounded Rectangle 23">
              <a:extLst>
                <a:ext uri="{FF2B5EF4-FFF2-40B4-BE49-F238E27FC236}">
                  <a16:creationId xmlns:a16="http://schemas.microsoft.com/office/drawing/2014/main" id="{B3798F82-1C22-0D00-69C5-5056B71F9107}"/>
                </a:ext>
              </a:extLst>
            </p:cNvPr>
            <p:cNvSpPr/>
            <p:nvPr/>
          </p:nvSpPr>
          <p:spPr bwMode="gray">
            <a:xfrm flipV="1">
              <a:off x="601407" y="3269767"/>
              <a:ext cx="228299" cy="228299"/>
            </a:xfrm>
            <a:prstGeom prst="roundRect">
              <a:avLst/>
            </a:prstGeom>
            <a:no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16" name="Rectangle 15">
              <a:extLst>
                <a:ext uri="{FF2B5EF4-FFF2-40B4-BE49-F238E27FC236}">
                  <a16:creationId xmlns:a16="http://schemas.microsoft.com/office/drawing/2014/main" id="{6D1516C6-7688-3157-FF0F-C6288C6B7E85}"/>
                </a:ext>
              </a:extLst>
            </p:cNvPr>
            <p:cNvSpPr/>
            <p:nvPr/>
          </p:nvSpPr>
          <p:spPr bwMode="gray">
            <a:xfrm>
              <a:off x="2154577" y="6451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a:solidFill>
                    <a:sysClr val="windowText" lastClr="000000"/>
                  </a:solidFill>
                </a:rPr>
                <a:t>Gender</a:t>
              </a:r>
            </a:p>
          </p:txBody>
        </p:sp>
        <p:sp>
          <p:nvSpPr>
            <p:cNvPr id="17" name="Rectangle 16">
              <a:extLst>
                <a:ext uri="{FF2B5EF4-FFF2-40B4-BE49-F238E27FC236}">
                  <a16:creationId xmlns:a16="http://schemas.microsoft.com/office/drawing/2014/main" id="{14AE34A2-4F19-95EE-216B-753621F0AACE}"/>
                </a:ext>
              </a:extLst>
            </p:cNvPr>
            <p:cNvSpPr/>
            <p:nvPr/>
          </p:nvSpPr>
          <p:spPr bwMode="gray">
            <a:xfrm>
              <a:off x="2154577" y="704176"/>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fr-FR">
                  <a:solidFill>
                    <a:sysClr val="windowText" lastClr="000000"/>
                  </a:solidFill>
                </a:rPr>
                <a:t>Education</a:t>
              </a:r>
            </a:p>
          </p:txBody>
        </p:sp>
        <p:sp>
          <p:nvSpPr>
            <p:cNvPr id="18" name="Rectangle 17">
              <a:extLst>
                <a:ext uri="{FF2B5EF4-FFF2-40B4-BE49-F238E27FC236}">
                  <a16:creationId xmlns:a16="http://schemas.microsoft.com/office/drawing/2014/main" id="{24948F12-0567-6C87-D24F-6AA1D8B334B0}"/>
                </a:ext>
              </a:extLst>
            </p:cNvPr>
            <p:cNvSpPr/>
            <p:nvPr/>
          </p:nvSpPr>
          <p:spPr bwMode="gray">
            <a:xfrm>
              <a:off x="2154577" y="1983490"/>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a:solidFill>
                    <a:sysClr val="windowText" lastClr="000000"/>
                  </a:solidFill>
                </a:rPr>
                <a:t>Marital Status</a:t>
              </a:r>
            </a:p>
          </p:txBody>
        </p:sp>
        <p:sp>
          <p:nvSpPr>
            <p:cNvPr id="19" name="Rectangle 18">
              <a:extLst>
                <a:ext uri="{FF2B5EF4-FFF2-40B4-BE49-F238E27FC236}">
                  <a16:creationId xmlns:a16="http://schemas.microsoft.com/office/drawing/2014/main" id="{CA35F1B7-383F-87A5-CBDD-89C3620DE60D}"/>
                </a:ext>
              </a:extLst>
            </p:cNvPr>
            <p:cNvSpPr/>
            <p:nvPr/>
          </p:nvSpPr>
          <p:spPr bwMode="gray">
            <a:xfrm>
              <a:off x="2154577" y="1343833"/>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a:solidFill>
                    <a:sysClr val="windowText" lastClr="000000"/>
                  </a:solidFill>
                </a:rPr>
                <a:t>Dependent</a:t>
              </a:r>
            </a:p>
          </p:txBody>
        </p:sp>
        <p:sp>
          <p:nvSpPr>
            <p:cNvPr id="20" name="Rectangle 19">
              <a:extLst>
                <a:ext uri="{FF2B5EF4-FFF2-40B4-BE49-F238E27FC236}">
                  <a16:creationId xmlns:a16="http://schemas.microsoft.com/office/drawing/2014/main" id="{1CE127FA-9AA8-A5A2-2AFB-9DC696FC13D8}"/>
                </a:ext>
              </a:extLst>
            </p:cNvPr>
            <p:cNvSpPr/>
            <p:nvPr/>
          </p:nvSpPr>
          <p:spPr bwMode="gray">
            <a:xfrm>
              <a:off x="2154577" y="2623147"/>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a:solidFill>
                    <a:sysClr val="windowText" lastClr="000000"/>
                  </a:solidFill>
                </a:rPr>
                <a:t>Loan Amount Term</a:t>
              </a:r>
            </a:p>
          </p:txBody>
        </p:sp>
        <p:sp>
          <p:nvSpPr>
            <p:cNvPr id="21" name="Rectangle 20">
              <a:extLst>
                <a:ext uri="{FF2B5EF4-FFF2-40B4-BE49-F238E27FC236}">
                  <a16:creationId xmlns:a16="http://schemas.microsoft.com/office/drawing/2014/main" id="{E632F036-75DA-8322-A618-AC2BA8766208}"/>
                </a:ext>
              </a:extLst>
            </p:cNvPr>
            <p:cNvSpPr/>
            <p:nvPr/>
          </p:nvSpPr>
          <p:spPr bwMode="gray">
            <a:xfrm>
              <a:off x="2154577" y="4542118"/>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a:solidFill>
                    <a:sysClr val="windowText" lastClr="000000"/>
                  </a:solidFill>
                </a:rPr>
                <a:t>Credit History </a:t>
              </a:r>
            </a:p>
          </p:txBody>
        </p:sp>
        <p:sp>
          <p:nvSpPr>
            <p:cNvPr id="22" name="Rectangle 21">
              <a:extLst>
                <a:ext uri="{FF2B5EF4-FFF2-40B4-BE49-F238E27FC236}">
                  <a16:creationId xmlns:a16="http://schemas.microsoft.com/office/drawing/2014/main" id="{1E9DD3DE-7664-3A87-6112-4488BEF85C19}"/>
                </a:ext>
              </a:extLst>
            </p:cNvPr>
            <p:cNvSpPr/>
            <p:nvPr/>
          </p:nvSpPr>
          <p:spPr bwMode="gray">
            <a:xfrm>
              <a:off x="2154577" y="3262804"/>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GB">
                  <a:solidFill>
                    <a:sysClr val="windowText" lastClr="000000"/>
                  </a:solidFill>
                </a:rPr>
                <a:t>Self-employed</a:t>
              </a:r>
            </a:p>
          </p:txBody>
        </p:sp>
        <p:sp>
          <p:nvSpPr>
            <p:cNvPr id="23" name="Rectangle 22">
              <a:extLst>
                <a:ext uri="{FF2B5EF4-FFF2-40B4-BE49-F238E27FC236}">
                  <a16:creationId xmlns:a16="http://schemas.microsoft.com/office/drawing/2014/main" id="{8E8D21BE-D44E-FDDB-0C7C-E3D48BD2AEBB}"/>
                </a:ext>
              </a:extLst>
            </p:cNvPr>
            <p:cNvSpPr/>
            <p:nvPr/>
          </p:nvSpPr>
          <p:spPr bwMode="gray">
            <a:xfrm>
              <a:off x="2154577" y="3902461"/>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sz="1700">
                  <a:solidFill>
                    <a:sysClr val="windowText" lastClr="000000"/>
                  </a:solidFill>
                </a:rPr>
                <a:t>Applicant / Co-Applicant Income</a:t>
              </a:r>
            </a:p>
          </p:txBody>
        </p:sp>
        <p:sp>
          <p:nvSpPr>
            <p:cNvPr id="24" name="Rectangle 23">
              <a:extLst>
                <a:ext uri="{FF2B5EF4-FFF2-40B4-BE49-F238E27FC236}">
                  <a16:creationId xmlns:a16="http://schemas.microsoft.com/office/drawing/2014/main" id="{230F5698-64A0-EC97-33BD-DDE86D657E95}"/>
                </a:ext>
              </a:extLst>
            </p:cNvPr>
            <p:cNvSpPr/>
            <p:nvPr/>
          </p:nvSpPr>
          <p:spPr bwMode="gray">
            <a:xfrm>
              <a:off x="2154577" y="5181775"/>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a:solidFill>
                    <a:sysClr val="windowText" lastClr="000000"/>
                  </a:solidFill>
                </a:rPr>
                <a:t>Property Area </a:t>
              </a:r>
            </a:p>
          </p:txBody>
        </p:sp>
        <p:sp>
          <p:nvSpPr>
            <p:cNvPr id="25" name="Rectangle 24">
              <a:extLst>
                <a:ext uri="{FF2B5EF4-FFF2-40B4-BE49-F238E27FC236}">
                  <a16:creationId xmlns:a16="http://schemas.microsoft.com/office/drawing/2014/main" id="{CC666414-DD8A-7B00-21C9-F0F6CD915533}"/>
                </a:ext>
              </a:extLst>
            </p:cNvPr>
            <p:cNvSpPr/>
            <p:nvPr/>
          </p:nvSpPr>
          <p:spPr bwMode="gray">
            <a:xfrm>
              <a:off x="2154577" y="5821429"/>
              <a:ext cx="3024570" cy="502920"/>
            </a:xfrm>
            <a:prstGeom prst="rect">
              <a:avLst/>
            </a:prstGeom>
            <a:solidFill>
              <a:schemeClr val="bg1"/>
            </a:solidFill>
            <a:ln w="19050" algn="ctr">
              <a:solidFill>
                <a:schemeClr val="tx1"/>
              </a:solidFill>
              <a:miter lim="800000"/>
              <a:headEnd/>
              <a:tailEnd/>
            </a:ln>
          </p:spPr>
          <p:txBody>
            <a:bodyPr rot="0" spcFirstLastPara="0" vert="horz" wrap="square" lIns="274320" tIns="45720" rIns="4572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2" pitchFamily="18" charset="2"/>
                <a:buNone/>
                <a:defRPr/>
              </a:pPr>
              <a:r>
                <a:rPr lang="en-US">
                  <a:solidFill>
                    <a:sysClr val="windowText" lastClr="000000"/>
                  </a:solidFill>
                </a:rPr>
                <a:t>Loan Status </a:t>
              </a:r>
            </a:p>
          </p:txBody>
        </p:sp>
        <p:cxnSp>
          <p:nvCxnSpPr>
            <p:cNvPr id="26" name="Elbow Connector 34">
              <a:extLst>
                <a:ext uri="{FF2B5EF4-FFF2-40B4-BE49-F238E27FC236}">
                  <a16:creationId xmlns:a16="http://schemas.microsoft.com/office/drawing/2014/main" id="{C031BE98-37F2-D2CF-7DCB-C9D881449FAD}"/>
                </a:ext>
              </a:extLst>
            </p:cNvPr>
            <p:cNvCxnSpPr>
              <a:cxnSpLocks/>
              <a:stCxn id="11" idx="2"/>
              <a:endCxn id="32" idx="2"/>
            </p:cNvCxnSpPr>
            <p:nvPr/>
          </p:nvCxnSpPr>
          <p:spPr>
            <a:xfrm rot="16200000" flipH="1">
              <a:off x="-213412" y="4048070"/>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27" name="Elbow Connector 35">
              <a:extLst>
                <a:ext uri="{FF2B5EF4-FFF2-40B4-BE49-F238E27FC236}">
                  <a16:creationId xmlns:a16="http://schemas.microsoft.com/office/drawing/2014/main" id="{F3F31147-E174-2C09-E120-9DDA56164CB7}"/>
                </a:ext>
              </a:extLst>
            </p:cNvPr>
            <p:cNvCxnSpPr>
              <a:cxnSpLocks/>
              <a:stCxn id="10" idx="2"/>
              <a:endCxn id="33" idx="2"/>
            </p:cNvCxnSpPr>
            <p:nvPr/>
          </p:nvCxnSpPr>
          <p:spPr>
            <a:xfrm rot="16200000" flipH="1">
              <a:off x="220926" y="3842754"/>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28" name="Elbow Connector 36">
              <a:extLst>
                <a:ext uri="{FF2B5EF4-FFF2-40B4-BE49-F238E27FC236}">
                  <a16:creationId xmlns:a16="http://schemas.microsoft.com/office/drawing/2014/main" id="{F61BAA9F-E218-558B-000A-2C51CD4FE922}"/>
                </a:ext>
              </a:extLst>
            </p:cNvPr>
            <p:cNvCxnSpPr>
              <a:cxnSpLocks/>
              <a:stCxn id="9" idx="2"/>
              <a:endCxn id="34" idx="2"/>
            </p:cNvCxnSpPr>
            <p:nvPr/>
          </p:nvCxnSpPr>
          <p:spPr>
            <a:xfrm rot="16200000" flipH="1">
              <a:off x="655266" y="363743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29" name="Elbow Connector 37">
              <a:extLst>
                <a:ext uri="{FF2B5EF4-FFF2-40B4-BE49-F238E27FC236}">
                  <a16:creationId xmlns:a16="http://schemas.microsoft.com/office/drawing/2014/main" id="{386D917E-A809-B22D-BE2E-BF745C207DF1}"/>
                </a:ext>
              </a:extLst>
            </p:cNvPr>
            <p:cNvCxnSpPr>
              <a:cxnSpLocks/>
              <a:stCxn id="8" idx="2"/>
              <a:endCxn id="35" idx="2"/>
            </p:cNvCxnSpPr>
            <p:nvPr/>
          </p:nvCxnSpPr>
          <p:spPr>
            <a:xfrm rot="16200000" flipH="1">
              <a:off x="1089604" y="3432118"/>
              <a:ext cx="1034820" cy="408785"/>
            </a:xfrm>
            <a:prstGeom prst="bentConnector2">
              <a:avLst/>
            </a:prstGeom>
            <a:noFill/>
            <a:ln w="6350" cap="flat" cmpd="sng" algn="ctr">
              <a:solidFill>
                <a:srgbClr val="75787B"/>
              </a:solidFill>
              <a:prstDash val="solid"/>
              <a:headEnd type="none" w="med" len="med"/>
              <a:tailEnd type="triangle" w="med" len="med"/>
            </a:ln>
            <a:effectLst/>
          </p:spPr>
        </p:cxnSp>
        <p:sp>
          <p:nvSpPr>
            <p:cNvPr id="30" name="Oval 29">
              <a:extLst>
                <a:ext uri="{FF2B5EF4-FFF2-40B4-BE49-F238E27FC236}">
                  <a16:creationId xmlns:a16="http://schemas.microsoft.com/office/drawing/2014/main" id="{C52F8DC8-9BFA-7BA5-6F54-EB5BAA5B0D1B}"/>
                </a:ext>
              </a:extLst>
            </p:cNvPr>
            <p:cNvSpPr/>
            <p:nvPr/>
          </p:nvSpPr>
          <p:spPr bwMode="gray">
            <a:xfrm>
              <a:off x="1811407" y="3238039"/>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1" name="Oval 30">
              <a:extLst>
                <a:ext uri="{FF2B5EF4-FFF2-40B4-BE49-F238E27FC236}">
                  <a16:creationId xmlns:a16="http://schemas.microsoft.com/office/drawing/2014/main" id="{20A28028-E179-2460-ACA2-37CA829C5445}"/>
                </a:ext>
              </a:extLst>
            </p:cNvPr>
            <p:cNvSpPr/>
            <p:nvPr/>
          </p:nvSpPr>
          <p:spPr bwMode="gray">
            <a:xfrm>
              <a:off x="1811407" y="2598382"/>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2" name="Oval 31">
              <a:extLst>
                <a:ext uri="{FF2B5EF4-FFF2-40B4-BE49-F238E27FC236}">
                  <a16:creationId xmlns:a16="http://schemas.microsoft.com/office/drawing/2014/main" id="{1BC1036F-84A3-7DB0-3113-D10C7AC9BED6}"/>
                </a:ext>
              </a:extLst>
            </p:cNvPr>
            <p:cNvSpPr/>
            <p:nvPr/>
          </p:nvSpPr>
          <p:spPr bwMode="gray">
            <a:xfrm>
              <a:off x="1811407" y="579666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3" name="Oval 32">
              <a:extLst>
                <a:ext uri="{FF2B5EF4-FFF2-40B4-BE49-F238E27FC236}">
                  <a16:creationId xmlns:a16="http://schemas.microsoft.com/office/drawing/2014/main" id="{0E8FAE41-0887-13C2-D564-AE7519CADA21}"/>
                </a:ext>
              </a:extLst>
            </p:cNvPr>
            <p:cNvSpPr/>
            <p:nvPr/>
          </p:nvSpPr>
          <p:spPr bwMode="gray">
            <a:xfrm>
              <a:off x="1811407" y="5157010"/>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4" name="Oval 33">
              <a:extLst>
                <a:ext uri="{FF2B5EF4-FFF2-40B4-BE49-F238E27FC236}">
                  <a16:creationId xmlns:a16="http://schemas.microsoft.com/office/drawing/2014/main" id="{AC1C0499-D48F-6D4F-DD27-0B3606F32344}"/>
                </a:ext>
              </a:extLst>
            </p:cNvPr>
            <p:cNvSpPr/>
            <p:nvPr/>
          </p:nvSpPr>
          <p:spPr bwMode="gray">
            <a:xfrm>
              <a:off x="1811407" y="4517353"/>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5" name="Oval 34">
              <a:extLst>
                <a:ext uri="{FF2B5EF4-FFF2-40B4-BE49-F238E27FC236}">
                  <a16:creationId xmlns:a16="http://schemas.microsoft.com/office/drawing/2014/main" id="{EF09D403-436A-3559-84B4-7CCFF916C2E1}"/>
                </a:ext>
              </a:extLst>
            </p:cNvPr>
            <p:cNvSpPr/>
            <p:nvPr/>
          </p:nvSpPr>
          <p:spPr bwMode="gray">
            <a:xfrm>
              <a:off x="1811407" y="3877696"/>
              <a:ext cx="552450" cy="552450"/>
            </a:xfrm>
            <a:prstGeom prst="ellipse">
              <a:avLst/>
            </a:prstGeom>
            <a:solidFill>
              <a:srgbClr val="0076A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6" name="Oval 35">
              <a:extLst>
                <a:ext uri="{FF2B5EF4-FFF2-40B4-BE49-F238E27FC236}">
                  <a16:creationId xmlns:a16="http://schemas.microsoft.com/office/drawing/2014/main" id="{F37104E9-C1DB-69C5-907F-6D24E4CCFAF6}"/>
                </a:ext>
              </a:extLst>
            </p:cNvPr>
            <p:cNvSpPr/>
            <p:nvPr/>
          </p:nvSpPr>
          <p:spPr bwMode="gray">
            <a:xfrm flipV="1">
              <a:off x="1811407" y="39754"/>
              <a:ext cx="552450" cy="552450"/>
            </a:xfrm>
            <a:prstGeom prst="ellipse">
              <a:avLst/>
            </a:prstGeom>
            <a:solidFill>
              <a:srgbClr val="86BC25"/>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7" name="Oval 36">
              <a:extLst>
                <a:ext uri="{FF2B5EF4-FFF2-40B4-BE49-F238E27FC236}">
                  <a16:creationId xmlns:a16="http://schemas.microsoft.com/office/drawing/2014/main" id="{11BC8EC1-9A17-B7FF-DAF9-6ACAABB2F27D}"/>
                </a:ext>
              </a:extLst>
            </p:cNvPr>
            <p:cNvSpPr/>
            <p:nvPr/>
          </p:nvSpPr>
          <p:spPr bwMode="gray">
            <a:xfrm flipV="1">
              <a:off x="1811407" y="679408"/>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8" name="Oval 37">
              <a:extLst>
                <a:ext uri="{FF2B5EF4-FFF2-40B4-BE49-F238E27FC236}">
                  <a16:creationId xmlns:a16="http://schemas.microsoft.com/office/drawing/2014/main" id="{9FA1BE9C-66C5-8205-913A-1DFA5435E3EC}"/>
                </a:ext>
              </a:extLst>
            </p:cNvPr>
            <p:cNvSpPr/>
            <p:nvPr/>
          </p:nvSpPr>
          <p:spPr bwMode="gray">
            <a:xfrm flipV="1">
              <a:off x="1811407" y="1319065"/>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sp>
          <p:nvSpPr>
            <p:cNvPr id="39" name="Oval 38">
              <a:extLst>
                <a:ext uri="{FF2B5EF4-FFF2-40B4-BE49-F238E27FC236}">
                  <a16:creationId xmlns:a16="http://schemas.microsoft.com/office/drawing/2014/main" id="{F63BC787-02E5-89A0-7BB4-34504060CFEE}"/>
                </a:ext>
              </a:extLst>
            </p:cNvPr>
            <p:cNvSpPr/>
            <p:nvPr/>
          </p:nvSpPr>
          <p:spPr bwMode="gray">
            <a:xfrm flipV="1">
              <a:off x="1811407" y="1958722"/>
              <a:ext cx="552450" cy="552450"/>
            </a:xfrm>
            <a:prstGeom prst="ellipse">
              <a:avLst/>
            </a:prstGeom>
            <a:solidFill>
              <a:srgbClr val="046A38"/>
            </a:solidFill>
            <a:ln w="19050" algn="ctr">
              <a:noFill/>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600" b="1">
                <a:solidFill>
                  <a:sysClr val="window" lastClr="FFFFFF"/>
                </a:solidFill>
              </a:endParaRPr>
            </a:p>
          </p:txBody>
        </p:sp>
        <p:cxnSp>
          <p:nvCxnSpPr>
            <p:cNvPr id="40" name="Elbow Connector 48">
              <a:extLst>
                <a:ext uri="{FF2B5EF4-FFF2-40B4-BE49-F238E27FC236}">
                  <a16:creationId xmlns:a16="http://schemas.microsoft.com/office/drawing/2014/main" id="{A22666C8-2A58-E59E-187A-ADD4436CD6BE}"/>
                </a:ext>
              </a:extLst>
            </p:cNvPr>
            <p:cNvCxnSpPr>
              <a:cxnSpLocks/>
              <a:stCxn id="15" idx="2"/>
              <a:endCxn id="36" idx="2"/>
            </p:cNvCxnSpPr>
            <p:nvPr/>
          </p:nvCxnSpPr>
          <p:spPr>
            <a:xfrm rot="5400000" flipH="1" flipV="1">
              <a:off x="-213412" y="1244948"/>
              <a:ext cx="2953788" cy="1095850"/>
            </a:xfrm>
            <a:prstGeom prst="bentConnector2">
              <a:avLst/>
            </a:prstGeom>
            <a:noFill/>
            <a:ln w="6350" cap="flat" cmpd="sng" algn="ctr">
              <a:solidFill>
                <a:srgbClr val="75787B"/>
              </a:solidFill>
              <a:prstDash val="solid"/>
              <a:headEnd type="none" w="med" len="med"/>
              <a:tailEnd type="triangle" w="med" len="med"/>
            </a:ln>
            <a:effectLst/>
          </p:spPr>
        </p:cxnSp>
        <p:cxnSp>
          <p:nvCxnSpPr>
            <p:cNvPr id="41" name="Elbow Connector 49">
              <a:extLst>
                <a:ext uri="{FF2B5EF4-FFF2-40B4-BE49-F238E27FC236}">
                  <a16:creationId xmlns:a16="http://schemas.microsoft.com/office/drawing/2014/main" id="{E69DAB4B-B059-9D97-24FB-6161A21D2BD7}"/>
                </a:ext>
              </a:extLst>
            </p:cNvPr>
            <p:cNvCxnSpPr>
              <a:cxnSpLocks/>
              <a:stCxn id="14" idx="2"/>
              <a:endCxn id="37" idx="2"/>
            </p:cNvCxnSpPr>
            <p:nvPr/>
          </p:nvCxnSpPr>
          <p:spPr>
            <a:xfrm rot="5400000" flipH="1" flipV="1">
              <a:off x="220926" y="1679286"/>
              <a:ext cx="2314134" cy="866828"/>
            </a:xfrm>
            <a:prstGeom prst="bentConnector2">
              <a:avLst/>
            </a:prstGeom>
            <a:noFill/>
            <a:ln w="6350" cap="flat" cmpd="sng" algn="ctr">
              <a:solidFill>
                <a:srgbClr val="75787B"/>
              </a:solidFill>
              <a:prstDash val="solid"/>
              <a:headEnd type="none" w="med" len="med"/>
              <a:tailEnd type="triangle" w="med" len="med"/>
            </a:ln>
            <a:effectLst/>
          </p:spPr>
        </p:cxnSp>
        <p:cxnSp>
          <p:nvCxnSpPr>
            <p:cNvPr id="42" name="Elbow Connector 50">
              <a:extLst>
                <a:ext uri="{FF2B5EF4-FFF2-40B4-BE49-F238E27FC236}">
                  <a16:creationId xmlns:a16="http://schemas.microsoft.com/office/drawing/2014/main" id="{EA46BB92-CD4F-DAF3-505C-F2BDB870EB82}"/>
                </a:ext>
              </a:extLst>
            </p:cNvPr>
            <p:cNvCxnSpPr>
              <a:cxnSpLocks/>
              <a:stCxn id="13" idx="2"/>
              <a:endCxn id="38" idx="2"/>
            </p:cNvCxnSpPr>
            <p:nvPr/>
          </p:nvCxnSpPr>
          <p:spPr>
            <a:xfrm rot="5400000" flipH="1" flipV="1">
              <a:off x="655266" y="2113626"/>
              <a:ext cx="1674477" cy="637806"/>
            </a:xfrm>
            <a:prstGeom prst="bentConnector2">
              <a:avLst/>
            </a:prstGeom>
            <a:noFill/>
            <a:ln w="6350" cap="flat" cmpd="sng" algn="ctr">
              <a:solidFill>
                <a:srgbClr val="75787B"/>
              </a:solidFill>
              <a:prstDash val="solid"/>
              <a:headEnd type="none" w="med" len="med"/>
              <a:tailEnd type="triangle" w="med" len="med"/>
            </a:ln>
            <a:effectLst/>
          </p:spPr>
        </p:cxnSp>
        <p:cxnSp>
          <p:nvCxnSpPr>
            <p:cNvPr id="43" name="Elbow Connector 63">
              <a:extLst>
                <a:ext uri="{FF2B5EF4-FFF2-40B4-BE49-F238E27FC236}">
                  <a16:creationId xmlns:a16="http://schemas.microsoft.com/office/drawing/2014/main" id="{50EE0AC3-F997-8137-55B3-23A02D2482FD}"/>
                </a:ext>
              </a:extLst>
            </p:cNvPr>
            <p:cNvCxnSpPr>
              <a:cxnSpLocks/>
              <a:stCxn id="12" idx="2"/>
              <a:endCxn id="39" idx="2"/>
            </p:cNvCxnSpPr>
            <p:nvPr/>
          </p:nvCxnSpPr>
          <p:spPr>
            <a:xfrm rot="5400000" flipH="1" flipV="1">
              <a:off x="1089604" y="2547965"/>
              <a:ext cx="1034820" cy="408785"/>
            </a:xfrm>
            <a:prstGeom prst="bentConnector2">
              <a:avLst/>
            </a:prstGeom>
            <a:noFill/>
            <a:ln w="6350" cap="flat" cmpd="sng" algn="ctr">
              <a:solidFill>
                <a:srgbClr val="75787B"/>
              </a:solidFill>
              <a:prstDash val="solid"/>
              <a:headEnd type="none" w="med" len="med"/>
              <a:tailEnd type="triangle" w="med" len="med"/>
            </a:ln>
            <a:effectLst/>
          </p:spPr>
        </p:cxnSp>
        <p:grpSp>
          <p:nvGrpSpPr>
            <p:cNvPr id="44" name="Group 43">
              <a:extLst>
                <a:ext uri="{FF2B5EF4-FFF2-40B4-BE49-F238E27FC236}">
                  <a16:creationId xmlns:a16="http://schemas.microsoft.com/office/drawing/2014/main" id="{950802EE-B2A6-9A5A-B652-48BCFC73F6FC}"/>
                </a:ext>
              </a:extLst>
            </p:cNvPr>
            <p:cNvGrpSpPr/>
            <p:nvPr/>
          </p:nvGrpSpPr>
          <p:grpSpPr>
            <a:xfrm>
              <a:off x="376238" y="2589862"/>
              <a:ext cx="1209144" cy="1209144"/>
              <a:chOff x="746442" y="2197259"/>
              <a:chExt cx="1568134" cy="1568134"/>
            </a:xfrm>
          </p:grpSpPr>
          <p:sp>
            <p:nvSpPr>
              <p:cNvPr id="155" name="Oval 154">
                <a:extLst>
                  <a:ext uri="{FF2B5EF4-FFF2-40B4-BE49-F238E27FC236}">
                    <a16:creationId xmlns:a16="http://schemas.microsoft.com/office/drawing/2014/main" id="{092AE17A-4989-82F1-1E26-1F519E87276F}"/>
                  </a:ext>
                </a:extLst>
              </p:cNvPr>
              <p:cNvSpPr/>
              <p:nvPr/>
            </p:nvSpPr>
            <p:spPr bwMode="gray">
              <a:xfrm>
                <a:off x="746442" y="2197259"/>
                <a:ext cx="1568134" cy="1568134"/>
              </a:xfrm>
              <a:prstGeom prst="ellipse">
                <a:avLst/>
              </a:prstGeom>
              <a:solidFill>
                <a:srgbClr val="0097A9"/>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defRPr/>
                </a:pPr>
                <a:endParaRPr lang="en-GB" sz="1000" b="1">
                  <a:solidFill>
                    <a:sysClr val="window" lastClr="FFFFFF"/>
                  </a:solidFill>
                </a:endParaRPr>
              </a:p>
            </p:txBody>
          </p:sp>
          <p:sp>
            <p:nvSpPr>
              <p:cNvPr id="156" name="Oval 155">
                <a:extLst>
                  <a:ext uri="{FF2B5EF4-FFF2-40B4-BE49-F238E27FC236}">
                    <a16:creationId xmlns:a16="http://schemas.microsoft.com/office/drawing/2014/main" id="{54AF6258-A9BF-1768-7BF4-BC7898079439}"/>
                  </a:ext>
                </a:extLst>
              </p:cNvPr>
              <p:cNvSpPr/>
              <p:nvPr/>
            </p:nvSpPr>
            <p:spPr bwMode="gray">
              <a:xfrm>
                <a:off x="844712" y="2295528"/>
                <a:ext cx="1371598" cy="1371598"/>
              </a:xfrm>
              <a:prstGeom prst="ellipse">
                <a:avLst/>
              </a:prstGeom>
              <a:solidFill>
                <a:sysClr val="window" lastClr="FFFFFF"/>
              </a:solidFill>
              <a:ln w="19050" algn="ctr">
                <a:noFill/>
                <a:miter lim="800000"/>
                <a:headEnd/>
                <a:tailEnd/>
              </a:ln>
            </p:spPr>
            <p:txBody>
              <a:bodyPr rot="0" spcFirstLastPara="0" vert="horz" wrap="non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defRPr/>
                </a:pPr>
                <a:endParaRPr lang="en-US" sz="800" b="1">
                  <a:solidFill>
                    <a:prstClr val="black"/>
                  </a:solidFill>
                </a:endParaRPr>
              </a:p>
            </p:txBody>
          </p:sp>
        </p:grpSp>
        <p:grpSp>
          <p:nvGrpSpPr>
            <p:cNvPr id="55" name="Group 54">
              <a:extLst>
                <a:ext uri="{FF2B5EF4-FFF2-40B4-BE49-F238E27FC236}">
                  <a16:creationId xmlns:a16="http://schemas.microsoft.com/office/drawing/2014/main" id="{FD24C7BD-B86C-CF72-8AA8-0942AFA68004}"/>
                </a:ext>
              </a:extLst>
            </p:cNvPr>
            <p:cNvGrpSpPr>
              <a:grpSpLocks noChangeAspect="1"/>
            </p:cNvGrpSpPr>
            <p:nvPr/>
          </p:nvGrpSpPr>
          <p:grpSpPr bwMode="auto">
            <a:xfrm>
              <a:off x="1904134" y="132386"/>
              <a:ext cx="367043" cy="367031"/>
              <a:chOff x="3780" y="2658"/>
              <a:chExt cx="340" cy="340"/>
            </a:xfrm>
            <a:solidFill>
              <a:sysClr val="window" lastClr="FFFFFF"/>
            </a:solidFill>
          </p:grpSpPr>
          <p:sp>
            <p:nvSpPr>
              <p:cNvPr id="146" name="Freeform 167">
                <a:extLst>
                  <a:ext uri="{FF2B5EF4-FFF2-40B4-BE49-F238E27FC236}">
                    <a16:creationId xmlns:a16="http://schemas.microsoft.com/office/drawing/2014/main" id="{C8F45B22-A0AB-89E0-DD20-AA654B7A4DC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7" name="Freeform 168">
                <a:extLst>
                  <a:ext uri="{FF2B5EF4-FFF2-40B4-BE49-F238E27FC236}">
                    <a16:creationId xmlns:a16="http://schemas.microsoft.com/office/drawing/2014/main" id="{8D0C9C7C-C98E-4A37-AA96-85A437FC86D5}"/>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8" name="Freeform 169">
                <a:extLst>
                  <a:ext uri="{FF2B5EF4-FFF2-40B4-BE49-F238E27FC236}">
                    <a16:creationId xmlns:a16="http://schemas.microsoft.com/office/drawing/2014/main" id="{69787BA0-BFBB-B3FC-BA78-C1B2F23ECD5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9" name="Freeform 170">
                <a:extLst>
                  <a:ext uri="{FF2B5EF4-FFF2-40B4-BE49-F238E27FC236}">
                    <a16:creationId xmlns:a16="http://schemas.microsoft.com/office/drawing/2014/main" id="{4912E228-95CB-F3BD-0190-A27A68D423FB}"/>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50" name="Freeform 171">
                <a:extLst>
                  <a:ext uri="{FF2B5EF4-FFF2-40B4-BE49-F238E27FC236}">
                    <a16:creationId xmlns:a16="http://schemas.microsoft.com/office/drawing/2014/main" id="{FB75D630-7556-F804-2C79-9CF0E9BDA44F}"/>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51" name="Freeform 172">
                <a:extLst>
                  <a:ext uri="{FF2B5EF4-FFF2-40B4-BE49-F238E27FC236}">
                    <a16:creationId xmlns:a16="http://schemas.microsoft.com/office/drawing/2014/main" id="{FA7E2B74-A2D6-3701-3096-0DFD55FF87A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52" name="Freeform 173">
                <a:extLst>
                  <a:ext uri="{FF2B5EF4-FFF2-40B4-BE49-F238E27FC236}">
                    <a16:creationId xmlns:a16="http://schemas.microsoft.com/office/drawing/2014/main" id="{B8DD829E-D430-2C7E-C770-8693849F321B}"/>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53" name="Freeform 174">
                <a:extLst>
                  <a:ext uri="{FF2B5EF4-FFF2-40B4-BE49-F238E27FC236}">
                    <a16:creationId xmlns:a16="http://schemas.microsoft.com/office/drawing/2014/main" id="{E4837AEF-9B21-32BD-EED6-875CF187310B}"/>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54" name="Freeform 175">
                <a:extLst>
                  <a:ext uri="{FF2B5EF4-FFF2-40B4-BE49-F238E27FC236}">
                    <a16:creationId xmlns:a16="http://schemas.microsoft.com/office/drawing/2014/main" id="{33DEA03A-B0CB-1636-9169-2856BBB44252}"/>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56" name="Group 55">
              <a:extLst>
                <a:ext uri="{FF2B5EF4-FFF2-40B4-BE49-F238E27FC236}">
                  <a16:creationId xmlns:a16="http://schemas.microsoft.com/office/drawing/2014/main" id="{963EA6E3-D9D3-A9F1-8485-F20B7EE8E56E}"/>
                </a:ext>
              </a:extLst>
            </p:cNvPr>
            <p:cNvGrpSpPr>
              <a:grpSpLocks noChangeAspect="1"/>
            </p:cNvGrpSpPr>
            <p:nvPr/>
          </p:nvGrpSpPr>
          <p:grpSpPr bwMode="auto">
            <a:xfrm>
              <a:off x="1904134" y="772040"/>
              <a:ext cx="367043" cy="367031"/>
              <a:chOff x="3780" y="2658"/>
              <a:chExt cx="340" cy="340"/>
            </a:xfrm>
            <a:solidFill>
              <a:sysClr val="window" lastClr="FFFFFF"/>
            </a:solidFill>
          </p:grpSpPr>
          <p:sp>
            <p:nvSpPr>
              <p:cNvPr id="137" name="Freeform 158">
                <a:extLst>
                  <a:ext uri="{FF2B5EF4-FFF2-40B4-BE49-F238E27FC236}">
                    <a16:creationId xmlns:a16="http://schemas.microsoft.com/office/drawing/2014/main" id="{C6C377A5-51E0-4403-A701-21A1EFEB4BAD}"/>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8" name="Freeform 159">
                <a:extLst>
                  <a:ext uri="{FF2B5EF4-FFF2-40B4-BE49-F238E27FC236}">
                    <a16:creationId xmlns:a16="http://schemas.microsoft.com/office/drawing/2014/main" id="{15C8FCA4-A3EF-CADA-5FA7-0B80DBD2461F}"/>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9" name="Freeform 160">
                <a:extLst>
                  <a:ext uri="{FF2B5EF4-FFF2-40B4-BE49-F238E27FC236}">
                    <a16:creationId xmlns:a16="http://schemas.microsoft.com/office/drawing/2014/main" id="{2D326D21-D9D1-6393-13E4-31FBEAD2EB5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0" name="Freeform 161">
                <a:extLst>
                  <a:ext uri="{FF2B5EF4-FFF2-40B4-BE49-F238E27FC236}">
                    <a16:creationId xmlns:a16="http://schemas.microsoft.com/office/drawing/2014/main" id="{9639DFCE-1A3E-E4B1-1FFB-7913DD0DDD87}"/>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1" name="Freeform 162">
                <a:extLst>
                  <a:ext uri="{FF2B5EF4-FFF2-40B4-BE49-F238E27FC236}">
                    <a16:creationId xmlns:a16="http://schemas.microsoft.com/office/drawing/2014/main" id="{2AB37547-4C4C-C41C-B0DC-BFA04A358198}"/>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2" name="Freeform 163">
                <a:extLst>
                  <a:ext uri="{FF2B5EF4-FFF2-40B4-BE49-F238E27FC236}">
                    <a16:creationId xmlns:a16="http://schemas.microsoft.com/office/drawing/2014/main" id="{4D2A0578-2B40-68A9-32AD-0DBAA25BE01F}"/>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3" name="Freeform 164">
                <a:extLst>
                  <a:ext uri="{FF2B5EF4-FFF2-40B4-BE49-F238E27FC236}">
                    <a16:creationId xmlns:a16="http://schemas.microsoft.com/office/drawing/2014/main" id="{777014E5-0FD0-2DD4-A9E2-F1AF09C8A4F3}"/>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4" name="Freeform 165">
                <a:extLst>
                  <a:ext uri="{FF2B5EF4-FFF2-40B4-BE49-F238E27FC236}">
                    <a16:creationId xmlns:a16="http://schemas.microsoft.com/office/drawing/2014/main" id="{9C65754D-43E6-4A8E-ED0F-7FD97410B6CF}"/>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45" name="Freeform 166">
                <a:extLst>
                  <a:ext uri="{FF2B5EF4-FFF2-40B4-BE49-F238E27FC236}">
                    <a16:creationId xmlns:a16="http://schemas.microsoft.com/office/drawing/2014/main" id="{5A68172D-A4CC-6DC2-AD72-4C15AC90739A}"/>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57" name="Group 56">
              <a:extLst>
                <a:ext uri="{FF2B5EF4-FFF2-40B4-BE49-F238E27FC236}">
                  <a16:creationId xmlns:a16="http://schemas.microsoft.com/office/drawing/2014/main" id="{82078035-9698-4EA9-1C29-8C4670A7CB9F}"/>
                </a:ext>
              </a:extLst>
            </p:cNvPr>
            <p:cNvGrpSpPr>
              <a:grpSpLocks noChangeAspect="1"/>
            </p:cNvGrpSpPr>
            <p:nvPr/>
          </p:nvGrpSpPr>
          <p:grpSpPr bwMode="auto">
            <a:xfrm>
              <a:off x="1904134" y="1411697"/>
              <a:ext cx="367043" cy="367031"/>
              <a:chOff x="3780" y="2658"/>
              <a:chExt cx="340" cy="340"/>
            </a:xfrm>
            <a:solidFill>
              <a:sysClr val="window" lastClr="FFFFFF"/>
            </a:solidFill>
          </p:grpSpPr>
          <p:sp>
            <p:nvSpPr>
              <p:cNvPr id="128" name="Freeform 149">
                <a:extLst>
                  <a:ext uri="{FF2B5EF4-FFF2-40B4-BE49-F238E27FC236}">
                    <a16:creationId xmlns:a16="http://schemas.microsoft.com/office/drawing/2014/main" id="{E27AC8B0-F84B-4F41-AC7F-EFCADF8423E3}"/>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9" name="Freeform 150">
                <a:extLst>
                  <a:ext uri="{FF2B5EF4-FFF2-40B4-BE49-F238E27FC236}">
                    <a16:creationId xmlns:a16="http://schemas.microsoft.com/office/drawing/2014/main" id="{7853B30E-5D37-1A43-0224-A97E3EED58AD}"/>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0" name="Freeform 151">
                <a:extLst>
                  <a:ext uri="{FF2B5EF4-FFF2-40B4-BE49-F238E27FC236}">
                    <a16:creationId xmlns:a16="http://schemas.microsoft.com/office/drawing/2014/main" id="{3E2D2112-A9F2-684B-A429-5B7A596EEE1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1" name="Freeform 152">
                <a:extLst>
                  <a:ext uri="{FF2B5EF4-FFF2-40B4-BE49-F238E27FC236}">
                    <a16:creationId xmlns:a16="http://schemas.microsoft.com/office/drawing/2014/main" id="{3C38FE91-517C-A20E-9665-809326BE170D}"/>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2" name="Freeform 153">
                <a:extLst>
                  <a:ext uri="{FF2B5EF4-FFF2-40B4-BE49-F238E27FC236}">
                    <a16:creationId xmlns:a16="http://schemas.microsoft.com/office/drawing/2014/main" id="{4D5709A8-0895-E616-E9BD-186240BEA741}"/>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3" name="Freeform 154">
                <a:extLst>
                  <a:ext uri="{FF2B5EF4-FFF2-40B4-BE49-F238E27FC236}">
                    <a16:creationId xmlns:a16="http://schemas.microsoft.com/office/drawing/2014/main" id="{DA16B0CE-C2C3-2FBE-541B-E26230FD1B5F}"/>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4" name="Freeform 155">
                <a:extLst>
                  <a:ext uri="{FF2B5EF4-FFF2-40B4-BE49-F238E27FC236}">
                    <a16:creationId xmlns:a16="http://schemas.microsoft.com/office/drawing/2014/main" id="{662557C6-CF50-BD3E-B836-2CA83BB41839}"/>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5" name="Freeform 156">
                <a:extLst>
                  <a:ext uri="{FF2B5EF4-FFF2-40B4-BE49-F238E27FC236}">
                    <a16:creationId xmlns:a16="http://schemas.microsoft.com/office/drawing/2014/main" id="{24825C7B-25C0-3136-DFAC-66826A376E0D}"/>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36" name="Freeform 157">
                <a:extLst>
                  <a:ext uri="{FF2B5EF4-FFF2-40B4-BE49-F238E27FC236}">
                    <a16:creationId xmlns:a16="http://schemas.microsoft.com/office/drawing/2014/main" id="{C61CCD96-B639-D6DC-D3D7-93DD2E35DC51}"/>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58" name="Group 57">
              <a:extLst>
                <a:ext uri="{FF2B5EF4-FFF2-40B4-BE49-F238E27FC236}">
                  <a16:creationId xmlns:a16="http://schemas.microsoft.com/office/drawing/2014/main" id="{5235CE5F-F16F-4411-90B8-8530F91ABF88}"/>
                </a:ext>
              </a:extLst>
            </p:cNvPr>
            <p:cNvGrpSpPr>
              <a:grpSpLocks noChangeAspect="1"/>
            </p:cNvGrpSpPr>
            <p:nvPr/>
          </p:nvGrpSpPr>
          <p:grpSpPr bwMode="auto">
            <a:xfrm>
              <a:off x="1904134" y="2051354"/>
              <a:ext cx="367043" cy="367031"/>
              <a:chOff x="3780" y="2658"/>
              <a:chExt cx="340" cy="340"/>
            </a:xfrm>
            <a:solidFill>
              <a:sysClr val="window" lastClr="FFFFFF"/>
            </a:solidFill>
          </p:grpSpPr>
          <p:sp>
            <p:nvSpPr>
              <p:cNvPr id="119" name="Freeform 140">
                <a:extLst>
                  <a:ext uri="{FF2B5EF4-FFF2-40B4-BE49-F238E27FC236}">
                    <a16:creationId xmlns:a16="http://schemas.microsoft.com/office/drawing/2014/main" id="{9C34154A-1E00-D77C-7CCA-0718CB584144}"/>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0" name="Freeform 141">
                <a:extLst>
                  <a:ext uri="{FF2B5EF4-FFF2-40B4-BE49-F238E27FC236}">
                    <a16:creationId xmlns:a16="http://schemas.microsoft.com/office/drawing/2014/main" id="{11482CE6-EF9C-4D2A-11C7-89FB655067C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1" name="Freeform 142">
                <a:extLst>
                  <a:ext uri="{FF2B5EF4-FFF2-40B4-BE49-F238E27FC236}">
                    <a16:creationId xmlns:a16="http://schemas.microsoft.com/office/drawing/2014/main" id="{6ECF61F6-3AF7-C800-452C-45DDC2A75EC2}"/>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2" name="Freeform 143">
                <a:extLst>
                  <a:ext uri="{FF2B5EF4-FFF2-40B4-BE49-F238E27FC236}">
                    <a16:creationId xmlns:a16="http://schemas.microsoft.com/office/drawing/2014/main" id="{FDF1E0AC-F3C6-4D6C-8E35-7FA58A309405}"/>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3" name="Freeform 144">
                <a:extLst>
                  <a:ext uri="{FF2B5EF4-FFF2-40B4-BE49-F238E27FC236}">
                    <a16:creationId xmlns:a16="http://schemas.microsoft.com/office/drawing/2014/main" id="{40CB2122-911A-B815-77F9-B6BFE4D85A92}"/>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4" name="Freeform 145">
                <a:extLst>
                  <a:ext uri="{FF2B5EF4-FFF2-40B4-BE49-F238E27FC236}">
                    <a16:creationId xmlns:a16="http://schemas.microsoft.com/office/drawing/2014/main" id="{02077F7B-2425-7F44-52EF-23DB54C9524D}"/>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5" name="Freeform 146">
                <a:extLst>
                  <a:ext uri="{FF2B5EF4-FFF2-40B4-BE49-F238E27FC236}">
                    <a16:creationId xmlns:a16="http://schemas.microsoft.com/office/drawing/2014/main" id="{C612BC77-5A09-0D9D-7BCD-C336CB585AE9}"/>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6" name="Freeform 147">
                <a:extLst>
                  <a:ext uri="{FF2B5EF4-FFF2-40B4-BE49-F238E27FC236}">
                    <a16:creationId xmlns:a16="http://schemas.microsoft.com/office/drawing/2014/main" id="{4350BD1E-F99A-7EFE-FF37-26FC3BA2F638}"/>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27" name="Freeform 148">
                <a:extLst>
                  <a:ext uri="{FF2B5EF4-FFF2-40B4-BE49-F238E27FC236}">
                    <a16:creationId xmlns:a16="http://schemas.microsoft.com/office/drawing/2014/main" id="{78D3B388-7222-12AF-5E84-FDC0140CF749}"/>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59" name="Group 58">
              <a:extLst>
                <a:ext uri="{FF2B5EF4-FFF2-40B4-BE49-F238E27FC236}">
                  <a16:creationId xmlns:a16="http://schemas.microsoft.com/office/drawing/2014/main" id="{1121D363-7372-143C-1C94-36E0346B8E28}"/>
                </a:ext>
              </a:extLst>
            </p:cNvPr>
            <p:cNvGrpSpPr>
              <a:grpSpLocks noChangeAspect="1"/>
            </p:cNvGrpSpPr>
            <p:nvPr/>
          </p:nvGrpSpPr>
          <p:grpSpPr bwMode="auto">
            <a:xfrm>
              <a:off x="1904134" y="2691014"/>
              <a:ext cx="367043" cy="367031"/>
              <a:chOff x="3780" y="2658"/>
              <a:chExt cx="340" cy="340"/>
            </a:xfrm>
            <a:solidFill>
              <a:sysClr val="window" lastClr="FFFFFF"/>
            </a:solidFill>
          </p:grpSpPr>
          <p:sp>
            <p:nvSpPr>
              <p:cNvPr id="110" name="Freeform 131">
                <a:extLst>
                  <a:ext uri="{FF2B5EF4-FFF2-40B4-BE49-F238E27FC236}">
                    <a16:creationId xmlns:a16="http://schemas.microsoft.com/office/drawing/2014/main" id="{4615F814-892B-1659-9061-DD1D71ADA4F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1" name="Freeform 132">
                <a:extLst>
                  <a:ext uri="{FF2B5EF4-FFF2-40B4-BE49-F238E27FC236}">
                    <a16:creationId xmlns:a16="http://schemas.microsoft.com/office/drawing/2014/main" id="{7F1E44FF-B7D3-78C8-91F9-5A1FAC0D532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2" name="Freeform 133">
                <a:extLst>
                  <a:ext uri="{FF2B5EF4-FFF2-40B4-BE49-F238E27FC236}">
                    <a16:creationId xmlns:a16="http://schemas.microsoft.com/office/drawing/2014/main" id="{28BFEB75-D6A4-E35B-61E1-2EEDC7CCB3DD}"/>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3" name="Freeform 134">
                <a:extLst>
                  <a:ext uri="{FF2B5EF4-FFF2-40B4-BE49-F238E27FC236}">
                    <a16:creationId xmlns:a16="http://schemas.microsoft.com/office/drawing/2014/main" id="{1440FFDD-C6C4-8400-8895-93CD1DDC453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4" name="Freeform 135">
                <a:extLst>
                  <a:ext uri="{FF2B5EF4-FFF2-40B4-BE49-F238E27FC236}">
                    <a16:creationId xmlns:a16="http://schemas.microsoft.com/office/drawing/2014/main" id="{2B4BD853-9174-B011-BAB4-852C5F994C20}"/>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5" name="Freeform 136">
                <a:extLst>
                  <a:ext uri="{FF2B5EF4-FFF2-40B4-BE49-F238E27FC236}">
                    <a16:creationId xmlns:a16="http://schemas.microsoft.com/office/drawing/2014/main" id="{D1B0CE8A-009F-CFEF-49BF-DE90675187FC}"/>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6" name="Freeform 137">
                <a:extLst>
                  <a:ext uri="{FF2B5EF4-FFF2-40B4-BE49-F238E27FC236}">
                    <a16:creationId xmlns:a16="http://schemas.microsoft.com/office/drawing/2014/main" id="{22455FDB-8615-1132-49D4-A69725C39FE6}"/>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7" name="Freeform 138">
                <a:extLst>
                  <a:ext uri="{FF2B5EF4-FFF2-40B4-BE49-F238E27FC236}">
                    <a16:creationId xmlns:a16="http://schemas.microsoft.com/office/drawing/2014/main" id="{F29A6194-6D88-80B8-6A6E-5DF4A2E08DAB}"/>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18" name="Freeform 139">
                <a:extLst>
                  <a:ext uri="{FF2B5EF4-FFF2-40B4-BE49-F238E27FC236}">
                    <a16:creationId xmlns:a16="http://schemas.microsoft.com/office/drawing/2014/main" id="{C8E05A54-59A3-F467-E463-490918C26CB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60" name="Group 59">
              <a:extLst>
                <a:ext uri="{FF2B5EF4-FFF2-40B4-BE49-F238E27FC236}">
                  <a16:creationId xmlns:a16="http://schemas.microsoft.com/office/drawing/2014/main" id="{9A7A8C14-7A7C-222B-0A6C-40E3225EB074}"/>
                </a:ext>
              </a:extLst>
            </p:cNvPr>
            <p:cNvGrpSpPr>
              <a:grpSpLocks noChangeAspect="1"/>
            </p:cNvGrpSpPr>
            <p:nvPr/>
          </p:nvGrpSpPr>
          <p:grpSpPr bwMode="auto">
            <a:xfrm>
              <a:off x="1904134" y="3330671"/>
              <a:ext cx="367043" cy="367031"/>
              <a:chOff x="3780" y="2658"/>
              <a:chExt cx="340" cy="340"/>
            </a:xfrm>
            <a:solidFill>
              <a:sysClr val="window" lastClr="FFFFFF"/>
            </a:solidFill>
          </p:grpSpPr>
          <p:sp>
            <p:nvSpPr>
              <p:cNvPr id="101" name="Freeform 122">
                <a:extLst>
                  <a:ext uri="{FF2B5EF4-FFF2-40B4-BE49-F238E27FC236}">
                    <a16:creationId xmlns:a16="http://schemas.microsoft.com/office/drawing/2014/main" id="{F969217F-E0AE-C270-4D75-6A968A09F81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2" name="Freeform 123">
                <a:extLst>
                  <a:ext uri="{FF2B5EF4-FFF2-40B4-BE49-F238E27FC236}">
                    <a16:creationId xmlns:a16="http://schemas.microsoft.com/office/drawing/2014/main" id="{C987DF16-9679-0E16-4A51-42D6F9EA726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3" name="Freeform 124">
                <a:extLst>
                  <a:ext uri="{FF2B5EF4-FFF2-40B4-BE49-F238E27FC236}">
                    <a16:creationId xmlns:a16="http://schemas.microsoft.com/office/drawing/2014/main" id="{7014470D-CE2E-4449-642A-2081765E784C}"/>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4" name="Freeform 125">
                <a:extLst>
                  <a:ext uri="{FF2B5EF4-FFF2-40B4-BE49-F238E27FC236}">
                    <a16:creationId xmlns:a16="http://schemas.microsoft.com/office/drawing/2014/main" id="{B4143CCF-5298-FF6D-A6A3-39370C52A460}"/>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5" name="Freeform 126">
                <a:extLst>
                  <a:ext uri="{FF2B5EF4-FFF2-40B4-BE49-F238E27FC236}">
                    <a16:creationId xmlns:a16="http://schemas.microsoft.com/office/drawing/2014/main" id="{73279AED-A09D-AEA7-670A-80F421B2B972}"/>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6" name="Freeform 127">
                <a:extLst>
                  <a:ext uri="{FF2B5EF4-FFF2-40B4-BE49-F238E27FC236}">
                    <a16:creationId xmlns:a16="http://schemas.microsoft.com/office/drawing/2014/main" id="{AF17D77C-C879-1052-42F4-BCA63610ACA5}"/>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7" name="Freeform 128">
                <a:extLst>
                  <a:ext uri="{FF2B5EF4-FFF2-40B4-BE49-F238E27FC236}">
                    <a16:creationId xmlns:a16="http://schemas.microsoft.com/office/drawing/2014/main" id="{67470DAD-1DB4-0D50-05E0-B1327B90A988}"/>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8" name="Freeform 129">
                <a:extLst>
                  <a:ext uri="{FF2B5EF4-FFF2-40B4-BE49-F238E27FC236}">
                    <a16:creationId xmlns:a16="http://schemas.microsoft.com/office/drawing/2014/main" id="{99FC1F89-FE01-A64E-143B-537C3FE7AF36}"/>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9" name="Freeform 130">
                <a:extLst>
                  <a:ext uri="{FF2B5EF4-FFF2-40B4-BE49-F238E27FC236}">
                    <a16:creationId xmlns:a16="http://schemas.microsoft.com/office/drawing/2014/main" id="{D61C9557-395B-854A-0FAC-B9B5EA43C1C0}"/>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61" name="Group 60">
              <a:extLst>
                <a:ext uri="{FF2B5EF4-FFF2-40B4-BE49-F238E27FC236}">
                  <a16:creationId xmlns:a16="http://schemas.microsoft.com/office/drawing/2014/main" id="{C18D7388-D3A8-8251-79CF-7DDCDCD66A42}"/>
                </a:ext>
              </a:extLst>
            </p:cNvPr>
            <p:cNvGrpSpPr>
              <a:grpSpLocks noChangeAspect="1"/>
            </p:cNvGrpSpPr>
            <p:nvPr/>
          </p:nvGrpSpPr>
          <p:grpSpPr bwMode="auto">
            <a:xfrm>
              <a:off x="1904134" y="3970328"/>
              <a:ext cx="367043" cy="367031"/>
              <a:chOff x="3780" y="2658"/>
              <a:chExt cx="340" cy="340"/>
            </a:xfrm>
            <a:solidFill>
              <a:sysClr val="window" lastClr="FFFFFF"/>
            </a:solidFill>
          </p:grpSpPr>
          <p:sp>
            <p:nvSpPr>
              <p:cNvPr id="92" name="Freeform 113">
                <a:extLst>
                  <a:ext uri="{FF2B5EF4-FFF2-40B4-BE49-F238E27FC236}">
                    <a16:creationId xmlns:a16="http://schemas.microsoft.com/office/drawing/2014/main" id="{27F849B0-88EC-F369-AC34-A8914E417890}"/>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3" name="Freeform 114">
                <a:extLst>
                  <a:ext uri="{FF2B5EF4-FFF2-40B4-BE49-F238E27FC236}">
                    <a16:creationId xmlns:a16="http://schemas.microsoft.com/office/drawing/2014/main" id="{776E2682-9F0F-356A-D486-AFD92BD4B1D6}"/>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4" name="Freeform 115">
                <a:extLst>
                  <a:ext uri="{FF2B5EF4-FFF2-40B4-BE49-F238E27FC236}">
                    <a16:creationId xmlns:a16="http://schemas.microsoft.com/office/drawing/2014/main" id="{B4B88400-4B57-BDBA-1840-A9B1ED7A83BF}"/>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5" name="Freeform 116">
                <a:extLst>
                  <a:ext uri="{FF2B5EF4-FFF2-40B4-BE49-F238E27FC236}">
                    <a16:creationId xmlns:a16="http://schemas.microsoft.com/office/drawing/2014/main" id="{138CE9EE-183B-64EC-032C-BDBDD5D68FA4}"/>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6" name="Freeform 117">
                <a:extLst>
                  <a:ext uri="{FF2B5EF4-FFF2-40B4-BE49-F238E27FC236}">
                    <a16:creationId xmlns:a16="http://schemas.microsoft.com/office/drawing/2014/main" id="{74677EBE-1800-F362-76E4-CCA30B8EB2E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7" name="Freeform 118">
                <a:extLst>
                  <a:ext uri="{FF2B5EF4-FFF2-40B4-BE49-F238E27FC236}">
                    <a16:creationId xmlns:a16="http://schemas.microsoft.com/office/drawing/2014/main" id="{3B6F7A3E-0B6D-4D10-E153-2AC41F39873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8" name="Freeform 119">
                <a:extLst>
                  <a:ext uri="{FF2B5EF4-FFF2-40B4-BE49-F238E27FC236}">
                    <a16:creationId xmlns:a16="http://schemas.microsoft.com/office/drawing/2014/main" id="{D8B0F752-EE61-10AF-61C5-65E56E49EA92}"/>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9" name="Freeform 120">
                <a:extLst>
                  <a:ext uri="{FF2B5EF4-FFF2-40B4-BE49-F238E27FC236}">
                    <a16:creationId xmlns:a16="http://schemas.microsoft.com/office/drawing/2014/main" id="{1C334CAA-416A-B93C-A2FA-6E80DDCF0CE4}"/>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100" name="Freeform 121">
                <a:extLst>
                  <a:ext uri="{FF2B5EF4-FFF2-40B4-BE49-F238E27FC236}">
                    <a16:creationId xmlns:a16="http://schemas.microsoft.com/office/drawing/2014/main" id="{A9F13120-3A43-9193-A841-F39CFC95BA18}"/>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62" name="Group 61">
              <a:extLst>
                <a:ext uri="{FF2B5EF4-FFF2-40B4-BE49-F238E27FC236}">
                  <a16:creationId xmlns:a16="http://schemas.microsoft.com/office/drawing/2014/main" id="{95DB85F5-638E-235D-A4AC-3EC2DDBCA443}"/>
                </a:ext>
              </a:extLst>
            </p:cNvPr>
            <p:cNvGrpSpPr>
              <a:grpSpLocks noChangeAspect="1"/>
            </p:cNvGrpSpPr>
            <p:nvPr/>
          </p:nvGrpSpPr>
          <p:grpSpPr bwMode="auto">
            <a:xfrm>
              <a:off x="1904134" y="4609985"/>
              <a:ext cx="367043" cy="367031"/>
              <a:chOff x="3780" y="2658"/>
              <a:chExt cx="340" cy="340"/>
            </a:xfrm>
            <a:solidFill>
              <a:sysClr val="window" lastClr="FFFFFF"/>
            </a:solidFill>
          </p:grpSpPr>
          <p:sp>
            <p:nvSpPr>
              <p:cNvPr id="83" name="Freeform 104">
                <a:extLst>
                  <a:ext uri="{FF2B5EF4-FFF2-40B4-BE49-F238E27FC236}">
                    <a16:creationId xmlns:a16="http://schemas.microsoft.com/office/drawing/2014/main" id="{058115C7-A2AE-5613-790D-F8A89DC757A2}"/>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4" name="Freeform 105">
                <a:extLst>
                  <a:ext uri="{FF2B5EF4-FFF2-40B4-BE49-F238E27FC236}">
                    <a16:creationId xmlns:a16="http://schemas.microsoft.com/office/drawing/2014/main" id="{512084F2-8DE4-2318-6744-17D281D1CE07}"/>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5" name="Freeform 106">
                <a:extLst>
                  <a:ext uri="{FF2B5EF4-FFF2-40B4-BE49-F238E27FC236}">
                    <a16:creationId xmlns:a16="http://schemas.microsoft.com/office/drawing/2014/main" id="{4D52123A-2599-A79C-91FA-CE0D4E8C94F8}"/>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6" name="Freeform 107">
                <a:extLst>
                  <a:ext uri="{FF2B5EF4-FFF2-40B4-BE49-F238E27FC236}">
                    <a16:creationId xmlns:a16="http://schemas.microsoft.com/office/drawing/2014/main" id="{0D3A0576-5FE4-E264-C1E4-86A3D88FDF79}"/>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7" name="Freeform 108">
                <a:extLst>
                  <a:ext uri="{FF2B5EF4-FFF2-40B4-BE49-F238E27FC236}">
                    <a16:creationId xmlns:a16="http://schemas.microsoft.com/office/drawing/2014/main" id="{55BD3F38-EF01-80C1-922C-AA0194AD49EC}"/>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8" name="Freeform 109">
                <a:extLst>
                  <a:ext uri="{FF2B5EF4-FFF2-40B4-BE49-F238E27FC236}">
                    <a16:creationId xmlns:a16="http://schemas.microsoft.com/office/drawing/2014/main" id="{78090E60-623E-C3FF-9E82-AE786A5DB8C4}"/>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9" name="Freeform 110">
                <a:extLst>
                  <a:ext uri="{FF2B5EF4-FFF2-40B4-BE49-F238E27FC236}">
                    <a16:creationId xmlns:a16="http://schemas.microsoft.com/office/drawing/2014/main" id="{DF96CBC9-D22A-4AD6-2AA8-292D2EE87FCB}"/>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0" name="Freeform 111">
                <a:extLst>
                  <a:ext uri="{FF2B5EF4-FFF2-40B4-BE49-F238E27FC236}">
                    <a16:creationId xmlns:a16="http://schemas.microsoft.com/office/drawing/2014/main" id="{7D95F6C5-083F-9D77-3A4C-2BE0EC4B6378}"/>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91" name="Freeform 112">
                <a:extLst>
                  <a:ext uri="{FF2B5EF4-FFF2-40B4-BE49-F238E27FC236}">
                    <a16:creationId xmlns:a16="http://schemas.microsoft.com/office/drawing/2014/main" id="{A5A706F4-A225-684A-7464-2FACB9D5523C}"/>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63" name="Group 62">
              <a:extLst>
                <a:ext uri="{FF2B5EF4-FFF2-40B4-BE49-F238E27FC236}">
                  <a16:creationId xmlns:a16="http://schemas.microsoft.com/office/drawing/2014/main" id="{1637C51A-42D3-80DC-4977-F63FC6DD8562}"/>
                </a:ext>
              </a:extLst>
            </p:cNvPr>
            <p:cNvGrpSpPr>
              <a:grpSpLocks noChangeAspect="1"/>
            </p:cNvGrpSpPr>
            <p:nvPr/>
          </p:nvGrpSpPr>
          <p:grpSpPr bwMode="auto">
            <a:xfrm>
              <a:off x="1904134" y="5249642"/>
              <a:ext cx="367043" cy="367031"/>
              <a:chOff x="3780" y="2658"/>
              <a:chExt cx="340" cy="340"/>
            </a:xfrm>
            <a:solidFill>
              <a:sysClr val="window" lastClr="FFFFFF"/>
            </a:solidFill>
          </p:grpSpPr>
          <p:sp>
            <p:nvSpPr>
              <p:cNvPr id="74" name="Freeform 95">
                <a:extLst>
                  <a:ext uri="{FF2B5EF4-FFF2-40B4-BE49-F238E27FC236}">
                    <a16:creationId xmlns:a16="http://schemas.microsoft.com/office/drawing/2014/main" id="{F8F12F7C-44C7-067F-0935-EE03EB82C2C1}"/>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5" name="Freeform 96">
                <a:extLst>
                  <a:ext uri="{FF2B5EF4-FFF2-40B4-BE49-F238E27FC236}">
                    <a16:creationId xmlns:a16="http://schemas.microsoft.com/office/drawing/2014/main" id="{A0866D57-1698-604D-1ADA-5B066BFCFDB0}"/>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6" name="Freeform 97">
                <a:extLst>
                  <a:ext uri="{FF2B5EF4-FFF2-40B4-BE49-F238E27FC236}">
                    <a16:creationId xmlns:a16="http://schemas.microsoft.com/office/drawing/2014/main" id="{AEC0CF13-8DFD-5C1B-2E79-1E084284386A}"/>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7" name="Freeform 98">
                <a:extLst>
                  <a:ext uri="{FF2B5EF4-FFF2-40B4-BE49-F238E27FC236}">
                    <a16:creationId xmlns:a16="http://schemas.microsoft.com/office/drawing/2014/main" id="{9904F348-2675-A901-DB38-B9BC8E91C608}"/>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8" name="Freeform 99">
                <a:extLst>
                  <a:ext uri="{FF2B5EF4-FFF2-40B4-BE49-F238E27FC236}">
                    <a16:creationId xmlns:a16="http://schemas.microsoft.com/office/drawing/2014/main" id="{7924B0B2-81D1-8827-0DBE-844D05CBB876}"/>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9" name="Freeform 100">
                <a:extLst>
                  <a:ext uri="{FF2B5EF4-FFF2-40B4-BE49-F238E27FC236}">
                    <a16:creationId xmlns:a16="http://schemas.microsoft.com/office/drawing/2014/main" id="{88BED305-2BD6-EFE7-4322-E232BAD02936}"/>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0" name="Freeform 101">
                <a:extLst>
                  <a:ext uri="{FF2B5EF4-FFF2-40B4-BE49-F238E27FC236}">
                    <a16:creationId xmlns:a16="http://schemas.microsoft.com/office/drawing/2014/main" id="{A5CF48D1-B8F1-574E-5B3F-144EA9E477FF}"/>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1" name="Freeform 102">
                <a:extLst>
                  <a:ext uri="{FF2B5EF4-FFF2-40B4-BE49-F238E27FC236}">
                    <a16:creationId xmlns:a16="http://schemas.microsoft.com/office/drawing/2014/main" id="{954E7584-609B-A1BC-2188-7576182CAF16}"/>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82" name="Freeform 103">
                <a:extLst>
                  <a:ext uri="{FF2B5EF4-FFF2-40B4-BE49-F238E27FC236}">
                    <a16:creationId xmlns:a16="http://schemas.microsoft.com/office/drawing/2014/main" id="{ACA2B6F3-A2CB-5D22-F402-00687ED146AF}"/>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nvGrpSpPr>
            <p:cNvPr id="64" name="Group 63">
              <a:extLst>
                <a:ext uri="{FF2B5EF4-FFF2-40B4-BE49-F238E27FC236}">
                  <a16:creationId xmlns:a16="http://schemas.microsoft.com/office/drawing/2014/main" id="{B47AFD3B-E069-1872-6629-06EA3A7C5525}"/>
                </a:ext>
              </a:extLst>
            </p:cNvPr>
            <p:cNvGrpSpPr>
              <a:grpSpLocks noChangeAspect="1"/>
            </p:cNvGrpSpPr>
            <p:nvPr/>
          </p:nvGrpSpPr>
          <p:grpSpPr bwMode="auto">
            <a:xfrm>
              <a:off x="1904134" y="5889296"/>
              <a:ext cx="367043" cy="367031"/>
              <a:chOff x="3780" y="2658"/>
              <a:chExt cx="340" cy="340"/>
            </a:xfrm>
            <a:solidFill>
              <a:sysClr val="window" lastClr="FFFFFF"/>
            </a:solidFill>
          </p:grpSpPr>
          <p:sp>
            <p:nvSpPr>
              <p:cNvPr id="65" name="Freeform 86">
                <a:extLst>
                  <a:ext uri="{FF2B5EF4-FFF2-40B4-BE49-F238E27FC236}">
                    <a16:creationId xmlns:a16="http://schemas.microsoft.com/office/drawing/2014/main" id="{133EDEE0-3345-09DF-3E2B-BFCE9ED07FBC}"/>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66" name="Freeform 87">
                <a:extLst>
                  <a:ext uri="{FF2B5EF4-FFF2-40B4-BE49-F238E27FC236}">
                    <a16:creationId xmlns:a16="http://schemas.microsoft.com/office/drawing/2014/main" id="{5ACDED1D-4A59-8480-0853-AF532B8846D2}"/>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67" name="Freeform 88">
                <a:extLst>
                  <a:ext uri="{FF2B5EF4-FFF2-40B4-BE49-F238E27FC236}">
                    <a16:creationId xmlns:a16="http://schemas.microsoft.com/office/drawing/2014/main" id="{E37C039A-2498-969D-EFC0-28101A27DAD3}"/>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68" name="Freeform 89">
                <a:extLst>
                  <a:ext uri="{FF2B5EF4-FFF2-40B4-BE49-F238E27FC236}">
                    <a16:creationId xmlns:a16="http://schemas.microsoft.com/office/drawing/2014/main" id="{2D7E04C8-A4F0-956C-BCE6-8DEB49C347E2}"/>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69" name="Freeform 90">
                <a:extLst>
                  <a:ext uri="{FF2B5EF4-FFF2-40B4-BE49-F238E27FC236}">
                    <a16:creationId xmlns:a16="http://schemas.microsoft.com/office/drawing/2014/main" id="{C1705BD0-B959-F836-BFF5-FC790F6CD4F7}"/>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0" name="Freeform 91">
                <a:extLst>
                  <a:ext uri="{FF2B5EF4-FFF2-40B4-BE49-F238E27FC236}">
                    <a16:creationId xmlns:a16="http://schemas.microsoft.com/office/drawing/2014/main" id="{FB360736-E7C0-C7C2-D4A5-DC3A8F8380CA}"/>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1" name="Freeform 92">
                <a:extLst>
                  <a:ext uri="{FF2B5EF4-FFF2-40B4-BE49-F238E27FC236}">
                    <a16:creationId xmlns:a16="http://schemas.microsoft.com/office/drawing/2014/main" id="{830321B6-402D-C2DF-18ED-50690461E0B4}"/>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2" name="Freeform 93">
                <a:extLst>
                  <a:ext uri="{FF2B5EF4-FFF2-40B4-BE49-F238E27FC236}">
                    <a16:creationId xmlns:a16="http://schemas.microsoft.com/office/drawing/2014/main" id="{529AE128-000A-C3B2-2BDE-80BF452FF622}"/>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sp>
            <p:nvSpPr>
              <p:cNvPr id="73" name="Freeform 94">
                <a:extLst>
                  <a:ext uri="{FF2B5EF4-FFF2-40B4-BE49-F238E27FC236}">
                    <a16:creationId xmlns:a16="http://schemas.microsoft.com/office/drawing/2014/main" id="{FB5E43CE-D015-2709-CE64-AC82054A3BB6}"/>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lc="http://schemas.openxmlformats.org/drawingml/2006/lockedCanvas"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a:solidFill>
                    <a:sysClr val="windowText" lastClr="000000"/>
                  </a:solidFill>
                </a:endParaRPr>
              </a:p>
            </p:txBody>
          </p:sp>
        </p:grpSp>
      </p:grpSp>
      <p:sp>
        <p:nvSpPr>
          <p:cNvPr id="157" name="TextBox 156">
            <a:extLst>
              <a:ext uri="{FF2B5EF4-FFF2-40B4-BE49-F238E27FC236}">
                <a16:creationId xmlns:a16="http://schemas.microsoft.com/office/drawing/2014/main" id="{AD408FB4-B96B-7D1D-62C2-8798BF3A7E2C}"/>
              </a:ext>
            </a:extLst>
          </p:cNvPr>
          <p:cNvSpPr txBox="1"/>
          <p:nvPr/>
        </p:nvSpPr>
        <p:spPr>
          <a:xfrm>
            <a:off x="570388" y="2940666"/>
            <a:ext cx="3540803" cy="101053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4400">
                <a:solidFill>
                  <a:srgbClr val="313131"/>
                </a:solidFill>
                <a:cs typeface="Calibri"/>
              </a:rPr>
              <a:t>Data Features</a:t>
            </a:r>
            <a:endParaRPr lang="en-US" sz="4400">
              <a:solidFill>
                <a:srgbClr val="313131"/>
              </a:solidFill>
              <a:ea typeface="Calibri"/>
              <a:cs typeface="Calibri"/>
            </a:endParaRPr>
          </a:p>
          <a:p>
            <a:pPr>
              <a:spcBef>
                <a:spcPts val="200"/>
              </a:spcBef>
              <a:buSzPct val="100000"/>
            </a:pPr>
            <a:r>
              <a:rPr lang="en-US" sz="2000">
                <a:solidFill>
                  <a:srgbClr val="313131"/>
                </a:solidFill>
                <a:ea typeface="Calibri"/>
                <a:cs typeface="Calibri"/>
              </a:rPr>
              <a:t>Source of Data: Kaggle </a:t>
            </a:r>
            <a:endParaRPr lang="en-US" sz="2000">
              <a:ea typeface="Calibri"/>
              <a:cs typeface="Calibri"/>
            </a:endParaRPr>
          </a:p>
        </p:txBody>
      </p:sp>
      <p:sp>
        <p:nvSpPr>
          <p:cNvPr id="158" name="TextBox 157">
            <a:extLst>
              <a:ext uri="{FF2B5EF4-FFF2-40B4-BE49-F238E27FC236}">
                <a16:creationId xmlns:a16="http://schemas.microsoft.com/office/drawing/2014/main" id="{7367F2B1-F7D6-75F2-4EF6-4819B7FA6FA1}"/>
              </a:ext>
            </a:extLst>
          </p:cNvPr>
          <p:cNvSpPr txBox="1"/>
          <p:nvPr/>
        </p:nvSpPr>
        <p:spPr>
          <a:xfrm>
            <a:off x="5973698" y="2975236"/>
            <a:ext cx="1237923" cy="892552"/>
          </a:xfrm>
          <a:prstGeom prst="rect">
            <a:avLst/>
          </a:prstGeom>
          <a:noFill/>
        </p:spPr>
        <p:txBody>
          <a:bodyPr wrap="square" rtlCol="0">
            <a:spAutoFit/>
          </a:bodyPr>
          <a:lstStyle/>
          <a:p>
            <a:pPr algn="ctr"/>
            <a:r>
              <a:rPr lang="en-US" sz="1700" b="1" err="1">
                <a:solidFill>
                  <a:prstClr val="black"/>
                </a:solidFill>
              </a:rPr>
              <a:t>Bank_loan</a:t>
            </a:r>
            <a:r>
              <a:rPr lang="en-US" sz="1700" b="1">
                <a:solidFill>
                  <a:prstClr val="black"/>
                </a:solidFill>
              </a:rPr>
              <a:t> Dataset</a:t>
            </a:r>
          </a:p>
          <a:p>
            <a:pPr algn="ctr"/>
            <a:endParaRPr lang="en-US"/>
          </a:p>
        </p:txBody>
      </p:sp>
    </p:spTree>
    <p:extLst>
      <p:ext uri="{BB962C8B-B14F-4D97-AF65-F5344CB8AC3E}">
        <p14:creationId xmlns:p14="http://schemas.microsoft.com/office/powerpoint/2010/main" val="19766549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7B84392-2CA4-4592-A924-2C8F6C14FE96}"/>
              </a:ext>
            </a:extLst>
          </p:cNvPr>
          <p:cNvSpPr/>
          <p:nvPr/>
        </p:nvSpPr>
        <p:spPr>
          <a:xfrm>
            <a:off x="4831291" y="905352"/>
            <a:ext cx="4130254" cy="5314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171112B-0BFA-79F6-3DE5-769DCEA1CBD4}"/>
              </a:ext>
            </a:extLst>
          </p:cNvPr>
          <p:cNvSpPr txBox="1"/>
          <p:nvPr/>
        </p:nvSpPr>
        <p:spPr>
          <a:xfrm>
            <a:off x="465140" y="2250910"/>
            <a:ext cx="4033023" cy="300595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4400">
                <a:solidFill>
                  <a:srgbClr val="313131"/>
                </a:solidFill>
                <a:cs typeface="Calibri"/>
              </a:rPr>
              <a:t>Modeling Techniques Utilized </a:t>
            </a:r>
          </a:p>
          <a:p>
            <a:pPr>
              <a:spcBef>
                <a:spcPts val="200"/>
              </a:spcBef>
              <a:buSzPct val="100000"/>
            </a:pPr>
            <a:endParaRPr lang="en-US" sz="4000" b="1">
              <a:solidFill>
                <a:srgbClr val="313131"/>
              </a:solidFill>
              <a:ea typeface="Calibri"/>
              <a:cs typeface="Calibri"/>
            </a:endParaRPr>
          </a:p>
          <a:p>
            <a:pPr>
              <a:spcBef>
                <a:spcPts val="200"/>
              </a:spcBef>
              <a:buSzPct val="100000"/>
            </a:pPr>
            <a:r>
              <a:rPr lang="en-US" sz="2000">
                <a:solidFill>
                  <a:srgbClr val="313131"/>
                </a:solidFill>
                <a:ea typeface="Calibri"/>
                <a:cs typeface="Calibri"/>
              </a:rPr>
              <a:t>Source of Data: Kaggle </a:t>
            </a:r>
            <a:endParaRPr lang="en-US" sz="2000">
              <a:ea typeface="Calibri"/>
              <a:cs typeface="Calibri"/>
            </a:endParaRPr>
          </a:p>
        </p:txBody>
      </p:sp>
      <p:grpSp>
        <p:nvGrpSpPr>
          <p:cNvPr id="43" name="Group 42">
            <a:extLst>
              <a:ext uri="{FF2B5EF4-FFF2-40B4-BE49-F238E27FC236}">
                <a16:creationId xmlns:a16="http://schemas.microsoft.com/office/drawing/2014/main" id="{D637FB8B-13B9-A65E-068D-BE5C3473A5EA}"/>
              </a:ext>
            </a:extLst>
          </p:cNvPr>
          <p:cNvGrpSpPr/>
          <p:nvPr/>
        </p:nvGrpSpPr>
        <p:grpSpPr>
          <a:xfrm>
            <a:off x="4625359" y="1113726"/>
            <a:ext cx="6376037" cy="4630548"/>
            <a:chOff x="958367" y="766692"/>
            <a:chExt cx="7847430" cy="5699135"/>
          </a:xfrm>
        </p:grpSpPr>
        <p:grpSp>
          <p:nvGrpSpPr>
            <p:cNvPr id="44" name="Group 43">
              <a:extLst>
                <a:ext uri="{FF2B5EF4-FFF2-40B4-BE49-F238E27FC236}">
                  <a16:creationId xmlns:a16="http://schemas.microsoft.com/office/drawing/2014/main" id="{35969223-F124-39E9-8DB2-A435C1C78904}"/>
                </a:ext>
              </a:extLst>
            </p:cNvPr>
            <p:cNvGrpSpPr/>
            <p:nvPr/>
          </p:nvGrpSpPr>
          <p:grpSpPr>
            <a:xfrm>
              <a:off x="958367" y="982449"/>
              <a:ext cx="7847430" cy="5435880"/>
              <a:chOff x="958367" y="982449"/>
              <a:chExt cx="7847430" cy="5435880"/>
            </a:xfrm>
          </p:grpSpPr>
          <p:sp>
            <p:nvSpPr>
              <p:cNvPr id="64" name="Oval 63">
                <a:extLst>
                  <a:ext uri="{FF2B5EF4-FFF2-40B4-BE49-F238E27FC236}">
                    <a16:creationId xmlns:a16="http://schemas.microsoft.com/office/drawing/2014/main" id="{893C15E3-E598-8B5D-42BD-EB27F4EFFE7F}"/>
                  </a:ext>
                </a:extLst>
              </p:cNvPr>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72231" tIns="72231" rIns="72231" bIns="72231" rtlCol="0" anchor="ctr"/>
              <a:lstStyle/>
              <a:p>
                <a:pPr algn="ctr" defTabSz="742950">
                  <a:lnSpc>
                    <a:spcPct val="106000"/>
                  </a:lnSpc>
                  <a:defRPr/>
                </a:pPr>
                <a:endParaRPr lang="en-US" sz="1300" b="1">
                  <a:solidFill>
                    <a:prstClr val="white"/>
                  </a:solidFill>
                  <a:latin typeface="Calibri Light"/>
                </a:endParaRPr>
              </a:p>
            </p:txBody>
          </p:sp>
          <p:sp>
            <p:nvSpPr>
              <p:cNvPr id="65" name="Rectangle 64">
                <a:extLst>
                  <a:ext uri="{FF2B5EF4-FFF2-40B4-BE49-F238E27FC236}">
                    <a16:creationId xmlns:a16="http://schemas.microsoft.com/office/drawing/2014/main" id="{24749A9E-17B1-DACD-7514-5421CCCC2281}"/>
                  </a:ext>
                </a:extLst>
              </p:cNvPr>
              <p:cNvSpPr/>
              <p:nvPr/>
            </p:nvSpPr>
            <p:spPr bwMode="gray">
              <a:xfrm>
                <a:off x="958367" y="982449"/>
                <a:ext cx="5060515" cy="5435880"/>
              </a:xfrm>
              <a:prstGeom prst="rect">
                <a:avLst/>
              </a:prstGeom>
              <a:solidFill>
                <a:schemeClr val="bg1"/>
              </a:solidFill>
              <a:ln w="19050" algn="ctr">
                <a:noFill/>
                <a:miter lim="800000"/>
                <a:headEnd/>
                <a:tailEnd/>
              </a:ln>
            </p:spPr>
            <p:txBody>
              <a:bodyPr wrap="square" lIns="72231" tIns="72231" rIns="72231" bIns="72231" rtlCol="0" anchor="ctr"/>
              <a:lstStyle/>
              <a:p>
                <a:pPr algn="ctr" defTabSz="742950">
                  <a:lnSpc>
                    <a:spcPct val="106000"/>
                  </a:lnSpc>
                  <a:defRPr/>
                </a:pPr>
                <a:endParaRPr lang="en-US" sz="1300" b="1">
                  <a:solidFill>
                    <a:prstClr val="white"/>
                  </a:solidFill>
                  <a:latin typeface="Calibri Light"/>
                </a:endParaRPr>
              </a:p>
            </p:txBody>
          </p:sp>
        </p:grpSp>
        <p:sp>
          <p:nvSpPr>
            <p:cNvPr id="45" name="Rectangle 44">
              <a:extLst>
                <a:ext uri="{FF2B5EF4-FFF2-40B4-BE49-F238E27FC236}">
                  <a16:creationId xmlns:a16="http://schemas.microsoft.com/office/drawing/2014/main" id="{BDDF471B-E367-AEC2-B123-B83852A44B40}"/>
                </a:ext>
              </a:extLst>
            </p:cNvPr>
            <p:cNvSpPr/>
            <p:nvPr/>
          </p:nvSpPr>
          <p:spPr>
            <a:xfrm>
              <a:off x="5464358" y="3031250"/>
              <a:ext cx="3061164" cy="1299844"/>
            </a:xfrm>
            <a:prstGeom prst="rect">
              <a:avLst/>
            </a:prstGeom>
          </p:spPr>
          <p:txBody>
            <a:bodyPr wrap="square">
              <a:spAutoFit/>
            </a:bodyPr>
            <a:lstStyle/>
            <a:p>
              <a:pPr defTabSz="742950">
                <a:defRPr/>
              </a:pPr>
              <a:r>
                <a:rPr lang="en-US" sz="2400" b="1">
                  <a:solidFill>
                    <a:prstClr val="black"/>
                  </a:solidFill>
                </a:rPr>
                <a:t>Modeling Techniques </a:t>
              </a:r>
              <a:endParaRPr lang="en-US" sz="1400" b="1">
                <a:solidFill>
                  <a:prstClr val="black"/>
                </a:solidFill>
              </a:endParaRPr>
            </a:p>
            <a:p>
              <a:pPr defTabSz="742950">
                <a:defRPr/>
              </a:pPr>
              <a:endParaRPr lang="en-US" sz="1463" b="1">
                <a:solidFill>
                  <a:prstClr val="black"/>
                </a:solidFill>
              </a:endParaRPr>
            </a:p>
          </p:txBody>
        </p:sp>
        <p:grpSp>
          <p:nvGrpSpPr>
            <p:cNvPr id="46" name="Group 45">
              <a:extLst>
                <a:ext uri="{FF2B5EF4-FFF2-40B4-BE49-F238E27FC236}">
                  <a16:creationId xmlns:a16="http://schemas.microsoft.com/office/drawing/2014/main" id="{AA4E54A1-1BF8-D81D-3C06-7ACD3C423C0A}"/>
                </a:ext>
              </a:extLst>
            </p:cNvPr>
            <p:cNvGrpSpPr/>
            <p:nvPr/>
          </p:nvGrpSpPr>
          <p:grpSpPr>
            <a:xfrm>
              <a:off x="3198310" y="766692"/>
              <a:ext cx="2908129" cy="568204"/>
              <a:chOff x="3198310" y="766692"/>
              <a:chExt cx="2908129" cy="568204"/>
            </a:xfrm>
          </p:grpSpPr>
          <p:sp>
            <p:nvSpPr>
              <p:cNvPr id="62" name="Rectangle 61">
                <a:extLst>
                  <a:ext uri="{FF2B5EF4-FFF2-40B4-BE49-F238E27FC236}">
                    <a16:creationId xmlns:a16="http://schemas.microsoft.com/office/drawing/2014/main" id="{22586D44-EFED-283F-2111-9F0B44B24792}"/>
                  </a:ext>
                </a:extLst>
              </p:cNvPr>
              <p:cNvSpPr/>
              <p:nvPr/>
            </p:nvSpPr>
            <p:spPr bwMode="gray">
              <a:xfrm>
                <a:off x="3942427" y="841716"/>
                <a:ext cx="2164012" cy="403951"/>
              </a:xfrm>
              <a:prstGeom prst="rect">
                <a:avLst/>
              </a:prstGeom>
              <a:solidFill>
                <a:srgbClr val="43B02A"/>
              </a:solidFill>
              <a:ln w="19050" algn="ctr">
                <a:noFill/>
                <a:miter lim="800000"/>
                <a:headEnd/>
                <a:tailEnd/>
              </a:ln>
            </p:spPr>
            <p:txBody>
              <a:bodyPr wrap="square" lIns="72231" tIns="72231" rIns="72231" bIns="72231" rtlCol="0" anchor="ctr"/>
              <a:lstStyle/>
              <a:p>
                <a:pPr algn="ctr" defTabSz="742950">
                  <a:defRPr/>
                </a:pPr>
                <a:r>
                  <a:rPr lang="en-US" sz="1400" b="1">
                    <a:solidFill>
                      <a:prstClr val="white"/>
                    </a:solidFill>
                  </a:rPr>
                  <a:t>Dummy Classifier</a:t>
                </a:r>
              </a:p>
            </p:txBody>
          </p:sp>
          <p:sp>
            <p:nvSpPr>
              <p:cNvPr id="63" name="TextBox 62">
                <a:extLst>
                  <a:ext uri="{FF2B5EF4-FFF2-40B4-BE49-F238E27FC236}">
                    <a16:creationId xmlns:a16="http://schemas.microsoft.com/office/drawing/2014/main" id="{9F5D00A7-10E3-8301-4D73-EF6D24FF4A39}"/>
                  </a:ext>
                </a:extLst>
              </p:cNvPr>
              <p:cNvSpPr txBox="1"/>
              <p:nvPr/>
            </p:nvSpPr>
            <p:spPr>
              <a:xfrm>
                <a:off x="3198310" y="766692"/>
                <a:ext cx="805844" cy="568204"/>
              </a:xfrm>
              <a:prstGeom prst="rect">
                <a:avLst/>
              </a:prstGeom>
              <a:noFill/>
            </p:spPr>
            <p:txBody>
              <a:bodyPr wrap="square" lIns="0" tIns="0" rIns="0" bIns="0" rtlCol="0">
                <a:spAutoFit/>
              </a:bodyPr>
              <a:lstStyle/>
              <a:p>
                <a:pPr defTabSz="742950">
                  <a:spcBef>
                    <a:spcPts val="488"/>
                  </a:spcBef>
                  <a:buSzPct val="100000"/>
                  <a:defRPr/>
                </a:pPr>
                <a:r>
                  <a:rPr lang="en-US" sz="3000">
                    <a:solidFill>
                      <a:srgbClr val="313131"/>
                    </a:solidFill>
                    <a:latin typeface="Calibri Light"/>
                  </a:rPr>
                  <a:t>01</a:t>
                </a:r>
              </a:p>
            </p:txBody>
          </p:sp>
        </p:grpSp>
        <p:grpSp>
          <p:nvGrpSpPr>
            <p:cNvPr id="47" name="Group 46">
              <a:extLst>
                <a:ext uri="{FF2B5EF4-FFF2-40B4-BE49-F238E27FC236}">
                  <a16:creationId xmlns:a16="http://schemas.microsoft.com/office/drawing/2014/main" id="{E0C4C8B2-E2BA-936B-C7FB-C38BDC1C8F0C}"/>
                </a:ext>
              </a:extLst>
            </p:cNvPr>
            <p:cNvGrpSpPr/>
            <p:nvPr/>
          </p:nvGrpSpPr>
          <p:grpSpPr>
            <a:xfrm>
              <a:off x="1132917" y="2194142"/>
              <a:ext cx="2820572" cy="568204"/>
              <a:chOff x="2995336" y="1158560"/>
              <a:chExt cx="2820572" cy="568204"/>
            </a:xfrm>
          </p:grpSpPr>
          <p:sp>
            <p:nvSpPr>
              <p:cNvPr id="60" name="Rectangle 59">
                <a:extLst>
                  <a:ext uri="{FF2B5EF4-FFF2-40B4-BE49-F238E27FC236}">
                    <a16:creationId xmlns:a16="http://schemas.microsoft.com/office/drawing/2014/main" id="{B204CE82-CD17-0C6F-383A-EDB799D24091}"/>
                  </a:ext>
                </a:extLst>
              </p:cNvPr>
              <p:cNvSpPr/>
              <p:nvPr/>
            </p:nvSpPr>
            <p:spPr bwMode="gray">
              <a:xfrm>
                <a:off x="3651897" y="1262850"/>
                <a:ext cx="2164011" cy="403949"/>
              </a:xfrm>
              <a:prstGeom prst="rect">
                <a:avLst/>
              </a:prstGeom>
              <a:solidFill>
                <a:srgbClr val="009A44"/>
              </a:solidFill>
              <a:ln w="19050" algn="ctr">
                <a:noFill/>
                <a:miter lim="800000"/>
                <a:headEnd/>
                <a:tailEnd/>
              </a:ln>
            </p:spPr>
            <p:txBody>
              <a:bodyPr wrap="square" lIns="72231" tIns="72231" rIns="72231" bIns="72231" rtlCol="0" anchor="ctr"/>
              <a:lstStyle/>
              <a:p>
                <a:pPr algn="ctr" defTabSz="742950">
                  <a:defRPr/>
                </a:pPr>
                <a:r>
                  <a:rPr lang="en-US" sz="1400" b="1">
                    <a:solidFill>
                      <a:prstClr val="white"/>
                    </a:solidFill>
                  </a:rPr>
                  <a:t>Decision Tree</a:t>
                </a:r>
              </a:p>
            </p:txBody>
          </p:sp>
          <p:sp>
            <p:nvSpPr>
              <p:cNvPr id="61" name="TextBox 60">
                <a:extLst>
                  <a:ext uri="{FF2B5EF4-FFF2-40B4-BE49-F238E27FC236}">
                    <a16:creationId xmlns:a16="http://schemas.microsoft.com/office/drawing/2014/main" id="{35FAB570-459E-7363-3961-D63C67E2B38D}"/>
                  </a:ext>
                </a:extLst>
              </p:cNvPr>
              <p:cNvSpPr txBox="1"/>
              <p:nvPr/>
            </p:nvSpPr>
            <p:spPr>
              <a:xfrm>
                <a:off x="2995336" y="1158560"/>
                <a:ext cx="805844" cy="568204"/>
              </a:xfrm>
              <a:prstGeom prst="rect">
                <a:avLst/>
              </a:prstGeom>
              <a:noFill/>
            </p:spPr>
            <p:txBody>
              <a:bodyPr wrap="square" lIns="0" tIns="0" rIns="0" bIns="0" rtlCol="0">
                <a:spAutoFit/>
              </a:bodyPr>
              <a:lstStyle/>
              <a:p>
                <a:pPr defTabSz="742950">
                  <a:spcBef>
                    <a:spcPts val="488"/>
                  </a:spcBef>
                  <a:buSzPct val="100000"/>
                  <a:defRPr/>
                </a:pPr>
                <a:r>
                  <a:rPr lang="en-US" sz="3000">
                    <a:solidFill>
                      <a:srgbClr val="313131"/>
                    </a:solidFill>
                    <a:latin typeface="Calibri Light"/>
                  </a:rPr>
                  <a:t>02</a:t>
                </a:r>
              </a:p>
            </p:txBody>
          </p:sp>
        </p:grpSp>
        <p:grpSp>
          <p:nvGrpSpPr>
            <p:cNvPr id="48" name="Group 47">
              <a:extLst>
                <a:ext uri="{FF2B5EF4-FFF2-40B4-BE49-F238E27FC236}">
                  <a16:creationId xmlns:a16="http://schemas.microsoft.com/office/drawing/2014/main" id="{AC8C220C-10B4-BDE9-11FA-8A414142649E}"/>
                </a:ext>
              </a:extLst>
            </p:cNvPr>
            <p:cNvGrpSpPr/>
            <p:nvPr/>
          </p:nvGrpSpPr>
          <p:grpSpPr>
            <a:xfrm>
              <a:off x="1106282" y="4113671"/>
              <a:ext cx="2847208" cy="568206"/>
              <a:chOff x="3509184" y="2042507"/>
              <a:chExt cx="2847208" cy="568206"/>
            </a:xfrm>
          </p:grpSpPr>
          <p:sp>
            <p:nvSpPr>
              <p:cNvPr id="58" name="Rectangle 57">
                <a:extLst>
                  <a:ext uri="{FF2B5EF4-FFF2-40B4-BE49-F238E27FC236}">
                    <a16:creationId xmlns:a16="http://schemas.microsoft.com/office/drawing/2014/main" id="{27420A38-4A39-DE05-6562-09B76F4590EC}"/>
                  </a:ext>
                </a:extLst>
              </p:cNvPr>
              <p:cNvSpPr/>
              <p:nvPr/>
            </p:nvSpPr>
            <p:spPr bwMode="gray">
              <a:xfrm>
                <a:off x="4192380" y="2164446"/>
                <a:ext cx="2164012" cy="403949"/>
              </a:xfrm>
              <a:prstGeom prst="rect">
                <a:avLst/>
              </a:prstGeom>
              <a:solidFill>
                <a:srgbClr val="0097A9"/>
              </a:solidFill>
              <a:ln w="19050" algn="ctr">
                <a:noFill/>
                <a:miter lim="800000"/>
                <a:headEnd/>
                <a:tailEnd/>
              </a:ln>
            </p:spPr>
            <p:txBody>
              <a:bodyPr wrap="square" lIns="72231" tIns="72231" rIns="72231" bIns="72231" rtlCol="0" anchor="ctr"/>
              <a:lstStyle/>
              <a:p>
                <a:pPr algn="ctr" defTabSz="742950">
                  <a:defRPr/>
                </a:pPr>
                <a:r>
                  <a:rPr lang="en-US" sz="1400" b="1">
                    <a:solidFill>
                      <a:prstClr val="white"/>
                    </a:solidFill>
                  </a:rPr>
                  <a:t>Random Forest</a:t>
                </a:r>
              </a:p>
            </p:txBody>
          </p:sp>
          <p:sp>
            <p:nvSpPr>
              <p:cNvPr id="59" name="TextBox 58">
                <a:extLst>
                  <a:ext uri="{FF2B5EF4-FFF2-40B4-BE49-F238E27FC236}">
                    <a16:creationId xmlns:a16="http://schemas.microsoft.com/office/drawing/2014/main" id="{E1057B3C-C009-A10D-F09A-24EAED9BF9D1}"/>
                  </a:ext>
                </a:extLst>
              </p:cNvPr>
              <p:cNvSpPr txBox="1"/>
              <p:nvPr/>
            </p:nvSpPr>
            <p:spPr>
              <a:xfrm>
                <a:off x="3509184" y="2042507"/>
                <a:ext cx="805844" cy="568206"/>
              </a:xfrm>
              <a:prstGeom prst="rect">
                <a:avLst/>
              </a:prstGeom>
              <a:noFill/>
            </p:spPr>
            <p:txBody>
              <a:bodyPr wrap="square" lIns="0" tIns="0" rIns="0" bIns="0" rtlCol="0">
                <a:spAutoFit/>
              </a:bodyPr>
              <a:lstStyle/>
              <a:p>
                <a:pPr defTabSz="742950">
                  <a:spcBef>
                    <a:spcPts val="488"/>
                  </a:spcBef>
                  <a:buSzPct val="100000"/>
                  <a:defRPr/>
                </a:pPr>
                <a:r>
                  <a:rPr lang="en-US" sz="3000">
                    <a:solidFill>
                      <a:srgbClr val="313131"/>
                    </a:solidFill>
                    <a:latin typeface="Calibri Light"/>
                  </a:rPr>
                  <a:t>03</a:t>
                </a:r>
              </a:p>
            </p:txBody>
          </p:sp>
        </p:grpSp>
        <p:sp>
          <p:nvSpPr>
            <p:cNvPr id="57" name="TextBox 56">
              <a:extLst>
                <a:ext uri="{FF2B5EF4-FFF2-40B4-BE49-F238E27FC236}">
                  <a16:creationId xmlns:a16="http://schemas.microsoft.com/office/drawing/2014/main" id="{823BE560-A7D0-C220-3BEF-98CC58D27132}"/>
                </a:ext>
              </a:extLst>
            </p:cNvPr>
            <p:cNvSpPr txBox="1"/>
            <p:nvPr/>
          </p:nvSpPr>
          <p:spPr>
            <a:xfrm>
              <a:off x="3145527" y="5894298"/>
              <a:ext cx="805844" cy="568204"/>
            </a:xfrm>
            <a:prstGeom prst="rect">
              <a:avLst/>
            </a:prstGeom>
            <a:noFill/>
          </p:spPr>
          <p:txBody>
            <a:bodyPr wrap="square" lIns="0" tIns="0" rIns="0" bIns="0" rtlCol="0">
              <a:spAutoFit/>
            </a:bodyPr>
            <a:lstStyle/>
            <a:p>
              <a:pPr defTabSz="742950">
                <a:spcBef>
                  <a:spcPts val="488"/>
                </a:spcBef>
                <a:buSzPct val="100000"/>
                <a:defRPr/>
              </a:pPr>
              <a:r>
                <a:rPr lang="en-US" sz="3000">
                  <a:solidFill>
                    <a:srgbClr val="313131"/>
                  </a:solidFill>
                  <a:latin typeface="Calibri Light"/>
                </a:rPr>
                <a:t>04</a:t>
              </a:r>
            </a:p>
          </p:txBody>
        </p:sp>
        <p:sp>
          <p:nvSpPr>
            <p:cNvPr id="54" name="Rectangle 53">
              <a:extLst>
                <a:ext uri="{FF2B5EF4-FFF2-40B4-BE49-F238E27FC236}">
                  <a16:creationId xmlns:a16="http://schemas.microsoft.com/office/drawing/2014/main" id="{B2F3DBE3-C927-1EA6-56F8-17C52D5A196C}"/>
                </a:ext>
              </a:extLst>
            </p:cNvPr>
            <p:cNvSpPr/>
            <p:nvPr/>
          </p:nvSpPr>
          <p:spPr bwMode="gray">
            <a:xfrm>
              <a:off x="4069918" y="5972647"/>
              <a:ext cx="2164012" cy="493180"/>
            </a:xfrm>
            <a:prstGeom prst="rect">
              <a:avLst/>
            </a:prstGeom>
            <a:solidFill>
              <a:srgbClr val="004F59"/>
            </a:solidFill>
            <a:ln w="19050" algn="ctr">
              <a:noFill/>
              <a:miter lim="800000"/>
              <a:headEnd/>
              <a:tailEnd/>
            </a:ln>
          </p:spPr>
          <p:txBody>
            <a:bodyPr wrap="square" lIns="72231" tIns="72231" rIns="72231" bIns="72231" rtlCol="0" anchor="ctr"/>
            <a:lstStyle/>
            <a:p>
              <a:pPr algn="ctr" defTabSz="742950">
                <a:defRPr/>
              </a:pPr>
              <a:r>
                <a:rPr lang="en-US" sz="1400" b="1">
                  <a:solidFill>
                    <a:prstClr val="white"/>
                  </a:solidFill>
                </a:rPr>
                <a:t>XG Boost Classifier</a:t>
              </a:r>
            </a:p>
          </p:txBody>
        </p:sp>
      </p:grpSp>
    </p:spTree>
    <p:extLst>
      <p:ext uri="{BB962C8B-B14F-4D97-AF65-F5344CB8AC3E}">
        <p14:creationId xmlns:p14="http://schemas.microsoft.com/office/powerpoint/2010/main" val="329460126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78BA5F19-D5E1-4ECC-BEC2-DF7AEDFD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Shape 34">
            <a:extLst>
              <a:ext uri="{FF2B5EF4-FFF2-40B4-BE49-F238E27FC236}">
                <a16:creationId xmlns:a16="http://schemas.microsoft.com/office/drawing/2014/main" id="{50CC88A9-A661-4C48-866E-8734E511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1269336" cy="2008639"/>
          </a:xfrm>
          <a:custGeom>
            <a:avLst/>
            <a:gdLst>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296127 w 11269336"/>
              <a:gd name="connsiteY139" fmla="*/ 2023208 h 2323145"/>
              <a:gd name="connsiteX140" fmla="*/ 5174645 w 11269336"/>
              <a:gd name="connsiteY140" fmla="*/ 2088358 h 2323145"/>
              <a:gd name="connsiteX141" fmla="*/ 5092476 w 11269336"/>
              <a:gd name="connsiteY141" fmla="*/ 2100737 h 2323145"/>
              <a:gd name="connsiteX142" fmla="*/ 5060738 w 11269336"/>
              <a:gd name="connsiteY142" fmla="*/ 2083274 h 2323145"/>
              <a:gd name="connsiteX143" fmla="*/ 4860988 w 11269336"/>
              <a:gd name="connsiteY143" fmla="*/ 2135698 h 2323145"/>
              <a:gd name="connsiteX144" fmla="*/ 4807902 w 11269336"/>
              <a:gd name="connsiteY144" fmla="*/ 2138894 h 2323145"/>
              <a:gd name="connsiteX145" fmla="*/ 4765388 w 11269336"/>
              <a:gd name="connsiteY145" fmla="*/ 2162525 h 2323145"/>
              <a:gd name="connsiteX146" fmla="*/ 4745033 w 11269336"/>
              <a:gd name="connsiteY146" fmla="*/ 2158859 h 2323145"/>
              <a:gd name="connsiteX147" fmla="*/ 4741475 w 11269336"/>
              <a:gd name="connsiteY147" fmla="*/ 2157998 h 2323145"/>
              <a:gd name="connsiteX148" fmla="*/ 4728247 w 11269336"/>
              <a:gd name="connsiteY148" fmla="*/ 2159526 h 2323145"/>
              <a:gd name="connsiteX149" fmla="*/ 4723263 w 11269336"/>
              <a:gd name="connsiteY149" fmla="*/ 2153742 h 2323145"/>
              <a:gd name="connsiteX150" fmla="*/ 4702453 w 11269336"/>
              <a:gd name="connsiteY150" fmla="*/ 2151586 h 2323145"/>
              <a:gd name="connsiteX151" fmla="*/ 4678455 w 11269336"/>
              <a:gd name="connsiteY151" fmla="*/ 2156131 h 2323145"/>
              <a:gd name="connsiteX152" fmla="*/ 4593061 w 11269336"/>
              <a:gd name="connsiteY152" fmla="*/ 2171597 h 2323145"/>
              <a:gd name="connsiteX153" fmla="*/ 4579902 w 11269336"/>
              <a:gd name="connsiteY153" fmla="*/ 2177927 h 2323145"/>
              <a:gd name="connsiteX154" fmla="*/ 4533444 w 11269336"/>
              <a:gd name="connsiteY154" fmla="*/ 2181200 h 2323145"/>
              <a:gd name="connsiteX155" fmla="*/ 4492832 w 11269336"/>
              <a:gd name="connsiteY155" fmla="*/ 2188033 h 2323145"/>
              <a:gd name="connsiteX156" fmla="*/ 4467257 w 11269336"/>
              <a:gd name="connsiteY156" fmla="*/ 2196121 h 2323145"/>
              <a:gd name="connsiteX157" fmla="*/ 4459937 w 11269336"/>
              <a:gd name="connsiteY157" fmla="*/ 2195182 h 2323145"/>
              <a:gd name="connsiteX158" fmla="*/ 4433312 w 11269336"/>
              <a:gd name="connsiteY158" fmla="*/ 2199004 h 2323145"/>
              <a:gd name="connsiteX159" fmla="*/ 4420601 w 11269336"/>
              <a:gd name="connsiteY159" fmla="*/ 2205158 h 2323145"/>
              <a:gd name="connsiteX160" fmla="*/ 4405765 w 11269336"/>
              <a:gd name="connsiteY160" fmla="*/ 2199902 h 2323145"/>
              <a:gd name="connsiteX161" fmla="*/ 4401354 w 11269336"/>
              <a:gd name="connsiteY161" fmla="*/ 2194745 h 2323145"/>
              <a:gd name="connsiteX162" fmla="*/ 4383151 w 11269336"/>
              <a:gd name="connsiteY162" fmla="*/ 2201140 h 2323145"/>
              <a:gd name="connsiteX163" fmla="*/ 4366646 w 11269336"/>
              <a:gd name="connsiteY163" fmla="*/ 2198564 h 2323145"/>
              <a:gd name="connsiteX164" fmla="*/ 4354009 w 11269336"/>
              <a:gd name="connsiteY164" fmla="*/ 2204984 h 2323145"/>
              <a:gd name="connsiteX165" fmla="*/ 4348284 w 11269336"/>
              <a:gd name="connsiteY165" fmla="*/ 2205270 h 2323145"/>
              <a:gd name="connsiteX166" fmla="*/ 4333906 w 11269336"/>
              <a:gd name="connsiteY166" fmla="*/ 2205251 h 2323145"/>
              <a:gd name="connsiteX167" fmla="*/ 4308819 w 11269336"/>
              <a:gd name="connsiteY167" fmla="*/ 2203822 h 2323145"/>
              <a:gd name="connsiteX168" fmla="*/ 4301210 w 11269336"/>
              <a:gd name="connsiteY168" fmla="*/ 2204456 h 2323145"/>
              <a:gd name="connsiteX169" fmla="*/ 4283095 w 11269336"/>
              <a:gd name="connsiteY169" fmla="*/ 2198177 h 2323145"/>
              <a:gd name="connsiteX170" fmla="*/ 4250119 w 11269336"/>
              <a:gd name="connsiteY170" fmla="*/ 2196342 h 2323145"/>
              <a:gd name="connsiteX171" fmla="*/ 4189203 w 11269336"/>
              <a:gd name="connsiteY171" fmla="*/ 2178994 h 2323145"/>
              <a:gd name="connsiteX172" fmla="*/ 4154035 w 11269336"/>
              <a:gd name="connsiteY172" fmla="*/ 2171950 h 2323145"/>
              <a:gd name="connsiteX173" fmla="*/ 4129569 w 11269336"/>
              <a:gd name="connsiteY173" fmla="*/ 2163850 h 2323145"/>
              <a:gd name="connsiteX174" fmla="*/ 4061250 w 11269336"/>
              <a:gd name="connsiteY174" fmla="*/ 2159236 h 2323145"/>
              <a:gd name="connsiteX175" fmla="*/ 3945480 w 11269336"/>
              <a:gd name="connsiteY175" fmla="*/ 2158279 h 2323145"/>
              <a:gd name="connsiteX176" fmla="*/ 3921468 w 11269336"/>
              <a:gd name="connsiteY176" fmla="*/ 2156588 h 2323145"/>
              <a:gd name="connsiteX177" fmla="*/ 3903348 w 11269336"/>
              <a:gd name="connsiteY177" fmla="*/ 2149220 h 2323145"/>
              <a:gd name="connsiteX178" fmla="*/ 3901342 w 11269336"/>
              <a:gd name="connsiteY178" fmla="*/ 2142355 h 2323145"/>
              <a:gd name="connsiteX179" fmla="*/ 3888539 w 11269336"/>
              <a:gd name="connsiteY179" fmla="*/ 2140476 h 2323145"/>
              <a:gd name="connsiteX180" fmla="*/ 3885662 w 11269336"/>
              <a:gd name="connsiteY180" fmla="*/ 2138740 h 2323145"/>
              <a:gd name="connsiteX181" fmla="*/ 3868627 w 11269336"/>
              <a:gd name="connsiteY181" fmla="*/ 2130023 h 2323145"/>
              <a:gd name="connsiteX182" fmla="*/ 3819177 w 11269336"/>
              <a:gd name="connsiteY182" fmla="*/ 2142111 h 2323145"/>
              <a:gd name="connsiteX183" fmla="*/ 3769100 w 11269336"/>
              <a:gd name="connsiteY183" fmla="*/ 2131731 h 2323145"/>
              <a:gd name="connsiteX184" fmla="*/ 3562752 w 11269336"/>
              <a:gd name="connsiteY184" fmla="*/ 2131785 h 2323145"/>
              <a:gd name="connsiteX185" fmla="*/ 3541402 w 11269336"/>
              <a:gd name="connsiteY185" fmla="*/ 2106821 h 2323145"/>
              <a:gd name="connsiteX186" fmla="*/ 3460591 w 11269336"/>
              <a:gd name="connsiteY186" fmla="*/ 2097951 h 2323145"/>
              <a:gd name="connsiteX187" fmla="*/ 3320348 w 11269336"/>
              <a:gd name="connsiteY187" fmla="*/ 2130191 h 2323145"/>
              <a:gd name="connsiteX188" fmla="*/ 3170922 w 11269336"/>
              <a:gd name="connsiteY188" fmla="*/ 2115957 h 2323145"/>
              <a:gd name="connsiteX189" fmla="*/ 3156256 w 11269336"/>
              <a:gd name="connsiteY189" fmla="*/ 2124773 h 2323145"/>
              <a:gd name="connsiteX190" fmla="*/ 3140298 w 11269336"/>
              <a:gd name="connsiteY190" fmla="*/ 2129182 h 2323145"/>
              <a:gd name="connsiteX191" fmla="*/ 3138514 w 11269336"/>
              <a:gd name="connsiteY191" fmla="*/ 2128069 h 2323145"/>
              <a:gd name="connsiteX192" fmla="*/ 3120467 w 11269336"/>
              <a:gd name="connsiteY192" fmla="*/ 2128281 h 2323145"/>
              <a:gd name="connsiteX193" fmla="*/ 3116175 w 11269336"/>
              <a:gd name="connsiteY193" fmla="*/ 2131633 h 2323145"/>
              <a:gd name="connsiteX194" fmla="*/ 3103685 w 11269336"/>
              <a:gd name="connsiteY194" fmla="*/ 2132814 h 2323145"/>
              <a:gd name="connsiteX195" fmla="*/ 3078794 w 11269336"/>
              <a:gd name="connsiteY195" fmla="*/ 2137935 h 2323145"/>
              <a:gd name="connsiteX196" fmla="*/ 3074407 w 11269336"/>
              <a:gd name="connsiteY196" fmla="*/ 2136274 h 2323145"/>
              <a:gd name="connsiteX197" fmla="*/ 3037285 w 11269336"/>
              <a:gd name="connsiteY197" fmla="*/ 2139919 h 2323145"/>
              <a:gd name="connsiteX198" fmla="*/ 3036901 w 11269336"/>
              <a:gd name="connsiteY198" fmla="*/ 2138726 h 2323145"/>
              <a:gd name="connsiteX199" fmla="*/ 3026996 w 11269336"/>
              <a:gd name="connsiteY199" fmla="*/ 2134322 h 2323145"/>
              <a:gd name="connsiteX200" fmla="*/ 3007772 w 11269336"/>
              <a:gd name="connsiteY200" fmla="*/ 2128742 h 2323145"/>
              <a:gd name="connsiteX201" fmla="*/ 2965030 w 11269336"/>
              <a:gd name="connsiteY201" fmla="*/ 2100494 h 2323145"/>
              <a:gd name="connsiteX202" fmla="*/ 2926342 w 11269336"/>
              <a:gd name="connsiteY202" fmla="*/ 2104155 h 2323145"/>
              <a:gd name="connsiteX203" fmla="*/ 2918608 w 11269336"/>
              <a:gd name="connsiteY203" fmla="*/ 2104215 h 2323145"/>
              <a:gd name="connsiteX204" fmla="*/ 2918475 w 11269336"/>
              <a:gd name="connsiteY204" fmla="*/ 2103937 h 2323145"/>
              <a:gd name="connsiteX205" fmla="*/ 2910360 w 11269336"/>
              <a:gd name="connsiteY205" fmla="*/ 2103444 h 2323145"/>
              <a:gd name="connsiteX206" fmla="*/ 2904507 w 11269336"/>
              <a:gd name="connsiteY206" fmla="*/ 2104326 h 2323145"/>
              <a:gd name="connsiteX207" fmla="*/ 2889503 w 11269336"/>
              <a:gd name="connsiteY207" fmla="*/ 2104443 h 2323145"/>
              <a:gd name="connsiteX208" fmla="*/ 2884480 w 11269336"/>
              <a:gd name="connsiteY208" fmla="*/ 2102626 h 2323145"/>
              <a:gd name="connsiteX209" fmla="*/ 2882689 w 11269336"/>
              <a:gd name="connsiteY209" fmla="*/ 2099228 h 2323145"/>
              <a:gd name="connsiteX210" fmla="*/ 2881291 w 11269336"/>
              <a:gd name="connsiteY210" fmla="*/ 2099618 h 2323145"/>
              <a:gd name="connsiteX211" fmla="*/ 2853979 w 11269336"/>
              <a:gd name="connsiteY211" fmla="*/ 2090388 h 2323145"/>
              <a:gd name="connsiteX212" fmla="*/ 2791790 w 11269336"/>
              <a:gd name="connsiteY212" fmla="*/ 2080332 h 2323145"/>
              <a:gd name="connsiteX213" fmla="*/ 2755844 w 11269336"/>
              <a:gd name="connsiteY213" fmla="*/ 2078874 h 2323145"/>
              <a:gd name="connsiteX214" fmla="*/ 2657742 w 11269336"/>
              <a:gd name="connsiteY214" fmla="*/ 2070179 h 2323145"/>
              <a:gd name="connsiteX215" fmla="*/ 2559549 w 11269336"/>
              <a:gd name="connsiteY215" fmla="*/ 2057873 h 2323145"/>
              <a:gd name="connsiteX216" fmla="*/ 2512054 w 11269336"/>
              <a:gd name="connsiteY216" fmla="*/ 2031671 h 2323145"/>
              <a:gd name="connsiteX217" fmla="*/ 2506437 w 11269336"/>
              <a:gd name="connsiteY217" fmla="*/ 2030918 h 2323145"/>
              <a:gd name="connsiteX218" fmla="*/ 2491752 w 11269336"/>
              <a:gd name="connsiteY218" fmla="*/ 2033906 h 2323145"/>
              <a:gd name="connsiteX219" fmla="*/ 2486338 w 11269336"/>
              <a:gd name="connsiteY219" fmla="*/ 2035862 h 2323145"/>
              <a:gd name="connsiteX220" fmla="*/ 2478186 w 11269336"/>
              <a:gd name="connsiteY220" fmla="*/ 2036953 h 2323145"/>
              <a:gd name="connsiteX221" fmla="*/ 2477950 w 11269336"/>
              <a:gd name="connsiteY221" fmla="*/ 2036715 h 2323145"/>
              <a:gd name="connsiteX222" fmla="*/ 2470381 w 11269336"/>
              <a:gd name="connsiteY222" fmla="*/ 2038256 h 2323145"/>
              <a:gd name="connsiteX223" fmla="*/ 2433781 w 11269336"/>
              <a:gd name="connsiteY223" fmla="*/ 2049140 h 2323145"/>
              <a:gd name="connsiteX224" fmla="*/ 2381172 w 11269336"/>
              <a:gd name="connsiteY224" fmla="*/ 2030645 h 2323145"/>
              <a:gd name="connsiteX225" fmla="*/ 2360198 w 11269336"/>
              <a:gd name="connsiteY225" fmla="*/ 2029059 h 2323145"/>
              <a:gd name="connsiteX226" fmla="*/ 2348815 w 11269336"/>
              <a:gd name="connsiteY226" fmla="*/ 2026798 h 2323145"/>
              <a:gd name="connsiteX227" fmla="*/ 2347988 w 11269336"/>
              <a:gd name="connsiteY227" fmla="*/ 2025745 h 2323145"/>
              <a:gd name="connsiteX228" fmla="*/ 2312920 w 11269336"/>
              <a:gd name="connsiteY228" fmla="*/ 2036311 h 2323145"/>
              <a:gd name="connsiteX229" fmla="*/ 2307986 w 11269336"/>
              <a:gd name="connsiteY229" fmla="*/ 2035583 h 2323145"/>
              <a:gd name="connsiteX230" fmla="*/ 2285481 w 11269336"/>
              <a:gd name="connsiteY230" fmla="*/ 2045197 h 2323145"/>
              <a:gd name="connsiteX231" fmla="*/ 2273666 w 11269336"/>
              <a:gd name="connsiteY231" fmla="*/ 2048710 h 2323145"/>
              <a:gd name="connsiteX232" fmla="*/ 2270719 w 11269336"/>
              <a:gd name="connsiteY232" fmla="*/ 2052702 h 2323145"/>
              <a:gd name="connsiteX233" fmla="*/ 2253080 w 11269336"/>
              <a:gd name="connsiteY233" fmla="*/ 2056363 h 2323145"/>
              <a:gd name="connsiteX234" fmla="*/ 2250906 w 11269336"/>
              <a:gd name="connsiteY234" fmla="*/ 2055654 h 2323145"/>
              <a:gd name="connsiteX235" fmla="*/ 2236905 w 11269336"/>
              <a:gd name="connsiteY235" fmla="*/ 2062882 h 2323145"/>
              <a:gd name="connsiteX236" fmla="*/ 2225830 w 11269336"/>
              <a:gd name="connsiteY236" fmla="*/ 2074027 h 2323145"/>
              <a:gd name="connsiteX237" fmla="*/ 2073776 w 11269336"/>
              <a:gd name="connsiteY237" fmla="*/ 2089244 h 2323145"/>
              <a:gd name="connsiteX238" fmla="*/ 1948256 w 11269336"/>
              <a:gd name="connsiteY238" fmla="*/ 2146616 h 2323145"/>
              <a:gd name="connsiteX239" fmla="*/ 1865582 w 11269336"/>
              <a:gd name="connsiteY239" fmla="*/ 2153738 h 2323145"/>
              <a:gd name="connsiteX240" fmla="*/ 1835210 w 11269336"/>
              <a:gd name="connsiteY240" fmla="*/ 2134244 h 2323145"/>
              <a:gd name="connsiteX241" fmla="*/ 1632661 w 11269336"/>
              <a:gd name="connsiteY241" fmla="*/ 2173882 h 2323145"/>
              <a:gd name="connsiteX242" fmla="*/ 1579590 w 11269336"/>
              <a:gd name="connsiteY242" fmla="*/ 2173680 h 2323145"/>
              <a:gd name="connsiteX243" fmla="*/ 1535601 w 11269336"/>
              <a:gd name="connsiteY243" fmla="*/ 2194590 h 2323145"/>
              <a:gd name="connsiteX244" fmla="*/ 1515594 w 11269336"/>
              <a:gd name="connsiteY244" fmla="*/ 2189622 h 2323145"/>
              <a:gd name="connsiteX245" fmla="*/ 1512113 w 11269336"/>
              <a:gd name="connsiteY245" fmla="*/ 2188534 h 2323145"/>
              <a:gd name="connsiteX246" fmla="*/ 1498838 w 11269336"/>
              <a:gd name="connsiteY246" fmla="*/ 2189213 h 2323145"/>
              <a:gd name="connsiteX247" fmla="*/ 1494279 w 11269336"/>
              <a:gd name="connsiteY247" fmla="*/ 2183112 h 2323145"/>
              <a:gd name="connsiteX248" fmla="*/ 1473714 w 11269336"/>
              <a:gd name="connsiteY248" fmla="*/ 2179625 h 2323145"/>
              <a:gd name="connsiteX249" fmla="*/ 1449503 w 11269336"/>
              <a:gd name="connsiteY249" fmla="*/ 2182633 h 2323145"/>
              <a:gd name="connsiteX250" fmla="*/ 1335495 w 11269336"/>
              <a:gd name="connsiteY250" fmla="*/ 2203940 h 2323145"/>
              <a:gd name="connsiteX251" fmla="*/ 1266687 w 11269336"/>
              <a:gd name="connsiteY251" fmla="*/ 2212688 h 2323145"/>
              <a:gd name="connsiteX252" fmla="*/ 1239614 w 11269336"/>
              <a:gd name="connsiteY252" fmla="*/ 2209727 h 2323145"/>
              <a:gd name="connsiteX253" fmla="*/ 1202436 w 11269336"/>
              <a:gd name="connsiteY253" fmla="*/ 2209817 h 2323145"/>
              <a:gd name="connsiteX254" fmla="*/ 1136097 w 11269336"/>
              <a:gd name="connsiteY254" fmla="*/ 2205112 h 2323145"/>
              <a:gd name="connsiteX255" fmla="*/ 1048229 w 11269336"/>
              <a:gd name="connsiteY255" fmla="*/ 2207249 h 2323145"/>
              <a:gd name="connsiteX256" fmla="*/ 988232 w 11269336"/>
              <a:gd name="connsiteY256" fmla="*/ 2235635 h 2323145"/>
              <a:gd name="connsiteX257" fmla="*/ 981959 w 11269336"/>
              <a:gd name="connsiteY257" fmla="*/ 2231607 h 2323145"/>
              <a:gd name="connsiteX258" fmla="*/ 938600 w 11269336"/>
              <a:gd name="connsiteY258" fmla="*/ 2238113 h 2323145"/>
              <a:gd name="connsiteX259" fmla="*/ 791788 w 11269336"/>
              <a:gd name="connsiteY259" fmla="*/ 2293224 h 2323145"/>
              <a:gd name="connsiteX260" fmla="*/ 706914 w 11269336"/>
              <a:gd name="connsiteY260" fmla="*/ 2305046 h 2323145"/>
              <a:gd name="connsiteX261" fmla="*/ 675971 w 11269336"/>
              <a:gd name="connsiteY261" fmla="*/ 2304030 h 2323145"/>
              <a:gd name="connsiteX262" fmla="*/ 624180 w 11269336"/>
              <a:gd name="connsiteY262" fmla="*/ 2302650 h 2323145"/>
              <a:gd name="connsiteX263" fmla="*/ 583453 w 11269336"/>
              <a:gd name="connsiteY263" fmla="*/ 2288788 h 2323145"/>
              <a:gd name="connsiteX264" fmla="*/ 540946 w 11269336"/>
              <a:gd name="connsiteY264" fmla="*/ 2292721 h 2323145"/>
              <a:gd name="connsiteX265" fmla="*/ 533680 w 11269336"/>
              <a:gd name="connsiteY265" fmla="*/ 2310233 h 2323145"/>
              <a:gd name="connsiteX266" fmla="*/ 487366 w 11269336"/>
              <a:gd name="connsiteY266" fmla="*/ 2309053 h 2323145"/>
              <a:gd name="connsiteX267" fmla="*/ 416820 w 11269336"/>
              <a:gd name="connsiteY267" fmla="*/ 2305443 h 2323145"/>
              <a:gd name="connsiteX268" fmla="*/ 376805 w 11269336"/>
              <a:gd name="connsiteY268" fmla="*/ 2307647 h 2323145"/>
              <a:gd name="connsiteX269" fmla="*/ 266777 w 11269336"/>
              <a:gd name="connsiteY269" fmla="*/ 2309012 h 2323145"/>
              <a:gd name="connsiteX270" fmla="*/ 156013 w 11269336"/>
              <a:gd name="connsiteY270" fmla="*/ 2306832 h 2323145"/>
              <a:gd name="connsiteX271" fmla="*/ 87258 w 11269336"/>
              <a:gd name="connsiteY271" fmla="*/ 2285511 h 2323145"/>
              <a:gd name="connsiteX272" fmla="*/ 23798 w 11269336"/>
              <a:gd name="connsiteY272" fmla="*/ 2281822 h 2323145"/>
              <a:gd name="connsiteX273" fmla="*/ 0 w 11269336"/>
              <a:gd name="connsiteY273" fmla="*/ 2285369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296127 w 11269336"/>
              <a:gd name="connsiteY139" fmla="*/ 2023208 h 2323145"/>
              <a:gd name="connsiteX140" fmla="*/ 5092476 w 11269336"/>
              <a:gd name="connsiteY140" fmla="*/ 2100737 h 2323145"/>
              <a:gd name="connsiteX141" fmla="*/ 5060738 w 11269336"/>
              <a:gd name="connsiteY141" fmla="*/ 2083274 h 2323145"/>
              <a:gd name="connsiteX142" fmla="*/ 4860988 w 11269336"/>
              <a:gd name="connsiteY142" fmla="*/ 2135698 h 2323145"/>
              <a:gd name="connsiteX143" fmla="*/ 4807902 w 11269336"/>
              <a:gd name="connsiteY143" fmla="*/ 2138894 h 2323145"/>
              <a:gd name="connsiteX144" fmla="*/ 4765388 w 11269336"/>
              <a:gd name="connsiteY144" fmla="*/ 2162525 h 2323145"/>
              <a:gd name="connsiteX145" fmla="*/ 4745033 w 11269336"/>
              <a:gd name="connsiteY145" fmla="*/ 2158859 h 2323145"/>
              <a:gd name="connsiteX146" fmla="*/ 4741475 w 11269336"/>
              <a:gd name="connsiteY146" fmla="*/ 2157998 h 2323145"/>
              <a:gd name="connsiteX147" fmla="*/ 4728247 w 11269336"/>
              <a:gd name="connsiteY147" fmla="*/ 2159526 h 2323145"/>
              <a:gd name="connsiteX148" fmla="*/ 4723263 w 11269336"/>
              <a:gd name="connsiteY148" fmla="*/ 2153742 h 2323145"/>
              <a:gd name="connsiteX149" fmla="*/ 4702453 w 11269336"/>
              <a:gd name="connsiteY149" fmla="*/ 2151586 h 2323145"/>
              <a:gd name="connsiteX150" fmla="*/ 4678455 w 11269336"/>
              <a:gd name="connsiteY150" fmla="*/ 2156131 h 2323145"/>
              <a:gd name="connsiteX151" fmla="*/ 4593061 w 11269336"/>
              <a:gd name="connsiteY151" fmla="*/ 2171597 h 2323145"/>
              <a:gd name="connsiteX152" fmla="*/ 4579902 w 11269336"/>
              <a:gd name="connsiteY152" fmla="*/ 2177927 h 2323145"/>
              <a:gd name="connsiteX153" fmla="*/ 4533444 w 11269336"/>
              <a:gd name="connsiteY153" fmla="*/ 2181200 h 2323145"/>
              <a:gd name="connsiteX154" fmla="*/ 4492832 w 11269336"/>
              <a:gd name="connsiteY154" fmla="*/ 2188033 h 2323145"/>
              <a:gd name="connsiteX155" fmla="*/ 4467257 w 11269336"/>
              <a:gd name="connsiteY155" fmla="*/ 2196121 h 2323145"/>
              <a:gd name="connsiteX156" fmla="*/ 4459937 w 11269336"/>
              <a:gd name="connsiteY156" fmla="*/ 2195182 h 2323145"/>
              <a:gd name="connsiteX157" fmla="*/ 4433312 w 11269336"/>
              <a:gd name="connsiteY157" fmla="*/ 2199004 h 2323145"/>
              <a:gd name="connsiteX158" fmla="*/ 4420601 w 11269336"/>
              <a:gd name="connsiteY158" fmla="*/ 2205158 h 2323145"/>
              <a:gd name="connsiteX159" fmla="*/ 4405765 w 11269336"/>
              <a:gd name="connsiteY159" fmla="*/ 2199902 h 2323145"/>
              <a:gd name="connsiteX160" fmla="*/ 4401354 w 11269336"/>
              <a:gd name="connsiteY160" fmla="*/ 2194745 h 2323145"/>
              <a:gd name="connsiteX161" fmla="*/ 4383151 w 11269336"/>
              <a:gd name="connsiteY161" fmla="*/ 2201140 h 2323145"/>
              <a:gd name="connsiteX162" fmla="*/ 4366646 w 11269336"/>
              <a:gd name="connsiteY162" fmla="*/ 2198564 h 2323145"/>
              <a:gd name="connsiteX163" fmla="*/ 4354009 w 11269336"/>
              <a:gd name="connsiteY163" fmla="*/ 2204984 h 2323145"/>
              <a:gd name="connsiteX164" fmla="*/ 4348284 w 11269336"/>
              <a:gd name="connsiteY164" fmla="*/ 2205270 h 2323145"/>
              <a:gd name="connsiteX165" fmla="*/ 4333906 w 11269336"/>
              <a:gd name="connsiteY165" fmla="*/ 2205251 h 2323145"/>
              <a:gd name="connsiteX166" fmla="*/ 4308819 w 11269336"/>
              <a:gd name="connsiteY166" fmla="*/ 2203822 h 2323145"/>
              <a:gd name="connsiteX167" fmla="*/ 4301210 w 11269336"/>
              <a:gd name="connsiteY167" fmla="*/ 2204456 h 2323145"/>
              <a:gd name="connsiteX168" fmla="*/ 4283095 w 11269336"/>
              <a:gd name="connsiteY168" fmla="*/ 2198177 h 2323145"/>
              <a:gd name="connsiteX169" fmla="*/ 4250119 w 11269336"/>
              <a:gd name="connsiteY169" fmla="*/ 2196342 h 2323145"/>
              <a:gd name="connsiteX170" fmla="*/ 4189203 w 11269336"/>
              <a:gd name="connsiteY170" fmla="*/ 2178994 h 2323145"/>
              <a:gd name="connsiteX171" fmla="*/ 4154035 w 11269336"/>
              <a:gd name="connsiteY171" fmla="*/ 2171950 h 2323145"/>
              <a:gd name="connsiteX172" fmla="*/ 4129569 w 11269336"/>
              <a:gd name="connsiteY172" fmla="*/ 2163850 h 2323145"/>
              <a:gd name="connsiteX173" fmla="*/ 4061250 w 11269336"/>
              <a:gd name="connsiteY173" fmla="*/ 2159236 h 2323145"/>
              <a:gd name="connsiteX174" fmla="*/ 3945480 w 11269336"/>
              <a:gd name="connsiteY174" fmla="*/ 2158279 h 2323145"/>
              <a:gd name="connsiteX175" fmla="*/ 3921468 w 11269336"/>
              <a:gd name="connsiteY175" fmla="*/ 2156588 h 2323145"/>
              <a:gd name="connsiteX176" fmla="*/ 3903348 w 11269336"/>
              <a:gd name="connsiteY176" fmla="*/ 2149220 h 2323145"/>
              <a:gd name="connsiteX177" fmla="*/ 3901342 w 11269336"/>
              <a:gd name="connsiteY177" fmla="*/ 2142355 h 2323145"/>
              <a:gd name="connsiteX178" fmla="*/ 3888539 w 11269336"/>
              <a:gd name="connsiteY178" fmla="*/ 2140476 h 2323145"/>
              <a:gd name="connsiteX179" fmla="*/ 3885662 w 11269336"/>
              <a:gd name="connsiteY179" fmla="*/ 2138740 h 2323145"/>
              <a:gd name="connsiteX180" fmla="*/ 3868627 w 11269336"/>
              <a:gd name="connsiteY180" fmla="*/ 2130023 h 2323145"/>
              <a:gd name="connsiteX181" fmla="*/ 3819177 w 11269336"/>
              <a:gd name="connsiteY181" fmla="*/ 2142111 h 2323145"/>
              <a:gd name="connsiteX182" fmla="*/ 3769100 w 11269336"/>
              <a:gd name="connsiteY182" fmla="*/ 2131731 h 2323145"/>
              <a:gd name="connsiteX183" fmla="*/ 3562752 w 11269336"/>
              <a:gd name="connsiteY183" fmla="*/ 2131785 h 2323145"/>
              <a:gd name="connsiteX184" fmla="*/ 3541402 w 11269336"/>
              <a:gd name="connsiteY184" fmla="*/ 2106821 h 2323145"/>
              <a:gd name="connsiteX185" fmla="*/ 3460591 w 11269336"/>
              <a:gd name="connsiteY185" fmla="*/ 2097951 h 2323145"/>
              <a:gd name="connsiteX186" fmla="*/ 3320348 w 11269336"/>
              <a:gd name="connsiteY186" fmla="*/ 2130191 h 2323145"/>
              <a:gd name="connsiteX187" fmla="*/ 3170922 w 11269336"/>
              <a:gd name="connsiteY187" fmla="*/ 2115957 h 2323145"/>
              <a:gd name="connsiteX188" fmla="*/ 3156256 w 11269336"/>
              <a:gd name="connsiteY188" fmla="*/ 2124773 h 2323145"/>
              <a:gd name="connsiteX189" fmla="*/ 3140298 w 11269336"/>
              <a:gd name="connsiteY189" fmla="*/ 2129182 h 2323145"/>
              <a:gd name="connsiteX190" fmla="*/ 3138514 w 11269336"/>
              <a:gd name="connsiteY190" fmla="*/ 2128069 h 2323145"/>
              <a:gd name="connsiteX191" fmla="*/ 3120467 w 11269336"/>
              <a:gd name="connsiteY191" fmla="*/ 2128281 h 2323145"/>
              <a:gd name="connsiteX192" fmla="*/ 3116175 w 11269336"/>
              <a:gd name="connsiteY192" fmla="*/ 2131633 h 2323145"/>
              <a:gd name="connsiteX193" fmla="*/ 3103685 w 11269336"/>
              <a:gd name="connsiteY193" fmla="*/ 2132814 h 2323145"/>
              <a:gd name="connsiteX194" fmla="*/ 3078794 w 11269336"/>
              <a:gd name="connsiteY194" fmla="*/ 2137935 h 2323145"/>
              <a:gd name="connsiteX195" fmla="*/ 3074407 w 11269336"/>
              <a:gd name="connsiteY195" fmla="*/ 2136274 h 2323145"/>
              <a:gd name="connsiteX196" fmla="*/ 3037285 w 11269336"/>
              <a:gd name="connsiteY196" fmla="*/ 2139919 h 2323145"/>
              <a:gd name="connsiteX197" fmla="*/ 3036901 w 11269336"/>
              <a:gd name="connsiteY197" fmla="*/ 2138726 h 2323145"/>
              <a:gd name="connsiteX198" fmla="*/ 3026996 w 11269336"/>
              <a:gd name="connsiteY198" fmla="*/ 2134322 h 2323145"/>
              <a:gd name="connsiteX199" fmla="*/ 3007772 w 11269336"/>
              <a:gd name="connsiteY199" fmla="*/ 2128742 h 2323145"/>
              <a:gd name="connsiteX200" fmla="*/ 2965030 w 11269336"/>
              <a:gd name="connsiteY200" fmla="*/ 2100494 h 2323145"/>
              <a:gd name="connsiteX201" fmla="*/ 2926342 w 11269336"/>
              <a:gd name="connsiteY201" fmla="*/ 2104155 h 2323145"/>
              <a:gd name="connsiteX202" fmla="*/ 2918608 w 11269336"/>
              <a:gd name="connsiteY202" fmla="*/ 2104215 h 2323145"/>
              <a:gd name="connsiteX203" fmla="*/ 2918475 w 11269336"/>
              <a:gd name="connsiteY203" fmla="*/ 2103937 h 2323145"/>
              <a:gd name="connsiteX204" fmla="*/ 2910360 w 11269336"/>
              <a:gd name="connsiteY204" fmla="*/ 2103444 h 2323145"/>
              <a:gd name="connsiteX205" fmla="*/ 2904507 w 11269336"/>
              <a:gd name="connsiteY205" fmla="*/ 2104326 h 2323145"/>
              <a:gd name="connsiteX206" fmla="*/ 2889503 w 11269336"/>
              <a:gd name="connsiteY206" fmla="*/ 2104443 h 2323145"/>
              <a:gd name="connsiteX207" fmla="*/ 2884480 w 11269336"/>
              <a:gd name="connsiteY207" fmla="*/ 2102626 h 2323145"/>
              <a:gd name="connsiteX208" fmla="*/ 2882689 w 11269336"/>
              <a:gd name="connsiteY208" fmla="*/ 2099228 h 2323145"/>
              <a:gd name="connsiteX209" fmla="*/ 2881291 w 11269336"/>
              <a:gd name="connsiteY209" fmla="*/ 2099618 h 2323145"/>
              <a:gd name="connsiteX210" fmla="*/ 2853979 w 11269336"/>
              <a:gd name="connsiteY210" fmla="*/ 2090388 h 2323145"/>
              <a:gd name="connsiteX211" fmla="*/ 2791790 w 11269336"/>
              <a:gd name="connsiteY211" fmla="*/ 2080332 h 2323145"/>
              <a:gd name="connsiteX212" fmla="*/ 2755844 w 11269336"/>
              <a:gd name="connsiteY212" fmla="*/ 2078874 h 2323145"/>
              <a:gd name="connsiteX213" fmla="*/ 2657742 w 11269336"/>
              <a:gd name="connsiteY213" fmla="*/ 2070179 h 2323145"/>
              <a:gd name="connsiteX214" fmla="*/ 2559549 w 11269336"/>
              <a:gd name="connsiteY214" fmla="*/ 2057873 h 2323145"/>
              <a:gd name="connsiteX215" fmla="*/ 2512054 w 11269336"/>
              <a:gd name="connsiteY215" fmla="*/ 2031671 h 2323145"/>
              <a:gd name="connsiteX216" fmla="*/ 2506437 w 11269336"/>
              <a:gd name="connsiteY216" fmla="*/ 2030918 h 2323145"/>
              <a:gd name="connsiteX217" fmla="*/ 2491752 w 11269336"/>
              <a:gd name="connsiteY217" fmla="*/ 2033906 h 2323145"/>
              <a:gd name="connsiteX218" fmla="*/ 2486338 w 11269336"/>
              <a:gd name="connsiteY218" fmla="*/ 2035862 h 2323145"/>
              <a:gd name="connsiteX219" fmla="*/ 2478186 w 11269336"/>
              <a:gd name="connsiteY219" fmla="*/ 2036953 h 2323145"/>
              <a:gd name="connsiteX220" fmla="*/ 2477950 w 11269336"/>
              <a:gd name="connsiteY220" fmla="*/ 2036715 h 2323145"/>
              <a:gd name="connsiteX221" fmla="*/ 2470381 w 11269336"/>
              <a:gd name="connsiteY221" fmla="*/ 2038256 h 2323145"/>
              <a:gd name="connsiteX222" fmla="*/ 2433781 w 11269336"/>
              <a:gd name="connsiteY222" fmla="*/ 2049140 h 2323145"/>
              <a:gd name="connsiteX223" fmla="*/ 2381172 w 11269336"/>
              <a:gd name="connsiteY223" fmla="*/ 2030645 h 2323145"/>
              <a:gd name="connsiteX224" fmla="*/ 2360198 w 11269336"/>
              <a:gd name="connsiteY224" fmla="*/ 2029059 h 2323145"/>
              <a:gd name="connsiteX225" fmla="*/ 2348815 w 11269336"/>
              <a:gd name="connsiteY225" fmla="*/ 2026798 h 2323145"/>
              <a:gd name="connsiteX226" fmla="*/ 2347988 w 11269336"/>
              <a:gd name="connsiteY226" fmla="*/ 2025745 h 2323145"/>
              <a:gd name="connsiteX227" fmla="*/ 2312920 w 11269336"/>
              <a:gd name="connsiteY227" fmla="*/ 2036311 h 2323145"/>
              <a:gd name="connsiteX228" fmla="*/ 2307986 w 11269336"/>
              <a:gd name="connsiteY228" fmla="*/ 2035583 h 2323145"/>
              <a:gd name="connsiteX229" fmla="*/ 2285481 w 11269336"/>
              <a:gd name="connsiteY229" fmla="*/ 2045197 h 2323145"/>
              <a:gd name="connsiteX230" fmla="*/ 2273666 w 11269336"/>
              <a:gd name="connsiteY230" fmla="*/ 2048710 h 2323145"/>
              <a:gd name="connsiteX231" fmla="*/ 2270719 w 11269336"/>
              <a:gd name="connsiteY231" fmla="*/ 2052702 h 2323145"/>
              <a:gd name="connsiteX232" fmla="*/ 2253080 w 11269336"/>
              <a:gd name="connsiteY232" fmla="*/ 2056363 h 2323145"/>
              <a:gd name="connsiteX233" fmla="*/ 2250906 w 11269336"/>
              <a:gd name="connsiteY233" fmla="*/ 2055654 h 2323145"/>
              <a:gd name="connsiteX234" fmla="*/ 2236905 w 11269336"/>
              <a:gd name="connsiteY234" fmla="*/ 2062882 h 2323145"/>
              <a:gd name="connsiteX235" fmla="*/ 2225830 w 11269336"/>
              <a:gd name="connsiteY235" fmla="*/ 2074027 h 2323145"/>
              <a:gd name="connsiteX236" fmla="*/ 2073776 w 11269336"/>
              <a:gd name="connsiteY236" fmla="*/ 2089244 h 2323145"/>
              <a:gd name="connsiteX237" fmla="*/ 1948256 w 11269336"/>
              <a:gd name="connsiteY237" fmla="*/ 2146616 h 2323145"/>
              <a:gd name="connsiteX238" fmla="*/ 1865582 w 11269336"/>
              <a:gd name="connsiteY238" fmla="*/ 2153738 h 2323145"/>
              <a:gd name="connsiteX239" fmla="*/ 1835210 w 11269336"/>
              <a:gd name="connsiteY239" fmla="*/ 2134244 h 2323145"/>
              <a:gd name="connsiteX240" fmla="*/ 1632661 w 11269336"/>
              <a:gd name="connsiteY240" fmla="*/ 2173882 h 2323145"/>
              <a:gd name="connsiteX241" fmla="*/ 1579590 w 11269336"/>
              <a:gd name="connsiteY241" fmla="*/ 2173680 h 2323145"/>
              <a:gd name="connsiteX242" fmla="*/ 1535601 w 11269336"/>
              <a:gd name="connsiteY242" fmla="*/ 2194590 h 2323145"/>
              <a:gd name="connsiteX243" fmla="*/ 1515594 w 11269336"/>
              <a:gd name="connsiteY243" fmla="*/ 2189622 h 2323145"/>
              <a:gd name="connsiteX244" fmla="*/ 1512113 w 11269336"/>
              <a:gd name="connsiteY244" fmla="*/ 2188534 h 2323145"/>
              <a:gd name="connsiteX245" fmla="*/ 1498838 w 11269336"/>
              <a:gd name="connsiteY245" fmla="*/ 2189213 h 2323145"/>
              <a:gd name="connsiteX246" fmla="*/ 1494279 w 11269336"/>
              <a:gd name="connsiteY246" fmla="*/ 2183112 h 2323145"/>
              <a:gd name="connsiteX247" fmla="*/ 1473714 w 11269336"/>
              <a:gd name="connsiteY247" fmla="*/ 2179625 h 2323145"/>
              <a:gd name="connsiteX248" fmla="*/ 1449503 w 11269336"/>
              <a:gd name="connsiteY248" fmla="*/ 2182633 h 2323145"/>
              <a:gd name="connsiteX249" fmla="*/ 1335495 w 11269336"/>
              <a:gd name="connsiteY249" fmla="*/ 2203940 h 2323145"/>
              <a:gd name="connsiteX250" fmla="*/ 1266687 w 11269336"/>
              <a:gd name="connsiteY250" fmla="*/ 2212688 h 2323145"/>
              <a:gd name="connsiteX251" fmla="*/ 1239614 w 11269336"/>
              <a:gd name="connsiteY251" fmla="*/ 2209727 h 2323145"/>
              <a:gd name="connsiteX252" fmla="*/ 1202436 w 11269336"/>
              <a:gd name="connsiteY252" fmla="*/ 2209817 h 2323145"/>
              <a:gd name="connsiteX253" fmla="*/ 1136097 w 11269336"/>
              <a:gd name="connsiteY253" fmla="*/ 2205112 h 2323145"/>
              <a:gd name="connsiteX254" fmla="*/ 1048229 w 11269336"/>
              <a:gd name="connsiteY254" fmla="*/ 2207249 h 2323145"/>
              <a:gd name="connsiteX255" fmla="*/ 988232 w 11269336"/>
              <a:gd name="connsiteY255" fmla="*/ 2235635 h 2323145"/>
              <a:gd name="connsiteX256" fmla="*/ 981959 w 11269336"/>
              <a:gd name="connsiteY256" fmla="*/ 2231607 h 2323145"/>
              <a:gd name="connsiteX257" fmla="*/ 938600 w 11269336"/>
              <a:gd name="connsiteY257" fmla="*/ 2238113 h 2323145"/>
              <a:gd name="connsiteX258" fmla="*/ 791788 w 11269336"/>
              <a:gd name="connsiteY258" fmla="*/ 2293224 h 2323145"/>
              <a:gd name="connsiteX259" fmla="*/ 706914 w 11269336"/>
              <a:gd name="connsiteY259" fmla="*/ 2305046 h 2323145"/>
              <a:gd name="connsiteX260" fmla="*/ 675971 w 11269336"/>
              <a:gd name="connsiteY260" fmla="*/ 2304030 h 2323145"/>
              <a:gd name="connsiteX261" fmla="*/ 624180 w 11269336"/>
              <a:gd name="connsiteY261" fmla="*/ 2302650 h 2323145"/>
              <a:gd name="connsiteX262" fmla="*/ 583453 w 11269336"/>
              <a:gd name="connsiteY262" fmla="*/ 2288788 h 2323145"/>
              <a:gd name="connsiteX263" fmla="*/ 540946 w 11269336"/>
              <a:gd name="connsiteY263" fmla="*/ 2292721 h 2323145"/>
              <a:gd name="connsiteX264" fmla="*/ 533680 w 11269336"/>
              <a:gd name="connsiteY264" fmla="*/ 2310233 h 2323145"/>
              <a:gd name="connsiteX265" fmla="*/ 487366 w 11269336"/>
              <a:gd name="connsiteY265" fmla="*/ 2309053 h 2323145"/>
              <a:gd name="connsiteX266" fmla="*/ 416820 w 11269336"/>
              <a:gd name="connsiteY266" fmla="*/ 2305443 h 2323145"/>
              <a:gd name="connsiteX267" fmla="*/ 376805 w 11269336"/>
              <a:gd name="connsiteY267" fmla="*/ 2307647 h 2323145"/>
              <a:gd name="connsiteX268" fmla="*/ 266777 w 11269336"/>
              <a:gd name="connsiteY268" fmla="*/ 2309012 h 2323145"/>
              <a:gd name="connsiteX269" fmla="*/ 156013 w 11269336"/>
              <a:gd name="connsiteY269" fmla="*/ 2306832 h 2323145"/>
              <a:gd name="connsiteX270" fmla="*/ 87258 w 11269336"/>
              <a:gd name="connsiteY270" fmla="*/ 2285511 h 2323145"/>
              <a:gd name="connsiteX271" fmla="*/ 23798 w 11269336"/>
              <a:gd name="connsiteY271" fmla="*/ 2281822 h 2323145"/>
              <a:gd name="connsiteX272" fmla="*/ 0 w 11269336"/>
              <a:gd name="connsiteY272" fmla="*/ 2285369 h 2323145"/>
              <a:gd name="connsiteX273" fmla="*/ 0 w 11269336"/>
              <a:gd name="connsiteY273"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092476 w 11269336"/>
              <a:gd name="connsiteY139" fmla="*/ 2100737 h 2323145"/>
              <a:gd name="connsiteX140" fmla="*/ 5060738 w 11269336"/>
              <a:gd name="connsiteY140" fmla="*/ 208327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460591 w 11269336"/>
              <a:gd name="connsiteY184" fmla="*/ 2097951 h 2323145"/>
              <a:gd name="connsiteX185" fmla="*/ 3320348 w 11269336"/>
              <a:gd name="connsiteY185" fmla="*/ 2130191 h 2323145"/>
              <a:gd name="connsiteX186" fmla="*/ 3170922 w 11269336"/>
              <a:gd name="connsiteY186" fmla="*/ 2115957 h 2323145"/>
              <a:gd name="connsiteX187" fmla="*/ 3156256 w 11269336"/>
              <a:gd name="connsiteY187" fmla="*/ 2124773 h 2323145"/>
              <a:gd name="connsiteX188" fmla="*/ 3140298 w 11269336"/>
              <a:gd name="connsiteY188" fmla="*/ 2129182 h 2323145"/>
              <a:gd name="connsiteX189" fmla="*/ 3138514 w 11269336"/>
              <a:gd name="connsiteY189" fmla="*/ 2128069 h 2323145"/>
              <a:gd name="connsiteX190" fmla="*/ 3120467 w 11269336"/>
              <a:gd name="connsiteY190" fmla="*/ 2128281 h 2323145"/>
              <a:gd name="connsiteX191" fmla="*/ 3116175 w 11269336"/>
              <a:gd name="connsiteY191" fmla="*/ 2131633 h 2323145"/>
              <a:gd name="connsiteX192" fmla="*/ 3103685 w 11269336"/>
              <a:gd name="connsiteY192" fmla="*/ 2132814 h 2323145"/>
              <a:gd name="connsiteX193" fmla="*/ 3078794 w 11269336"/>
              <a:gd name="connsiteY193" fmla="*/ 2137935 h 2323145"/>
              <a:gd name="connsiteX194" fmla="*/ 3074407 w 11269336"/>
              <a:gd name="connsiteY194" fmla="*/ 2136274 h 2323145"/>
              <a:gd name="connsiteX195" fmla="*/ 3037285 w 11269336"/>
              <a:gd name="connsiteY195" fmla="*/ 2139919 h 2323145"/>
              <a:gd name="connsiteX196" fmla="*/ 3036901 w 11269336"/>
              <a:gd name="connsiteY196" fmla="*/ 2138726 h 2323145"/>
              <a:gd name="connsiteX197" fmla="*/ 3026996 w 11269336"/>
              <a:gd name="connsiteY197" fmla="*/ 2134322 h 2323145"/>
              <a:gd name="connsiteX198" fmla="*/ 3007772 w 11269336"/>
              <a:gd name="connsiteY198" fmla="*/ 2128742 h 2323145"/>
              <a:gd name="connsiteX199" fmla="*/ 2965030 w 11269336"/>
              <a:gd name="connsiteY199" fmla="*/ 2100494 h 2323145"/>
              <a:gd name="connsiteX200" fmla="*/ 2926342 w 11269336"/>
              <a:gd name="connsiteY200" fmla="*/ 2104155 h 2323145"/>
              <a:gd name="connsiteX201" fmla="*/ 2918608 w 11269336"/>
              <a:gd name="connsiteY201" fmla="*/ 2104215 h 2323145"/>
              <a:gd name="connsiteX202" fmla="*/ 2918475 w 11269336"/>
              <a:gd name="connsiteY202" fmla="*/ 2103937 h 2323145"/>
              <a:gd name="connsiteX203" fmla="*/ 2910360 w 11269336"/>
              <a:gd name="connsiteY203" fmla="*/ 2103444 h 2323145"/>
              <a:gd name="connsiteX204" fmla="*/ 2904507 w 11269336"/>
              <a:gd name="connsiteY204" fmla="*/ 2104326 h 2323145"/>
              <a:gd name="connsiteX205" fmla="*/ 2889503 w 11269336"/>
              <a:gd name="connsiteY205" fmla="*/ 2104443 h 2323145"/>
              <a:gd name="connsiteX206" fmla="*/ 2884480 w 11269336"/>
              <a:gd name="connsiteY206" fmla="*/ 2102626 h 2323145"/>
              <a:gd name="connsiteX207" fmla="*/ 2882689 w 11269336"/>
              <a:gd name="connsiteY207" fmla="*/ 2099228 h 2323145"/>
              <a:gd name="connsiteX208" fmla="*/ 2881291 w 11269336"/>
              <a:gd name="connsiteY208" fmla="*/ 2099618 h 2323145"/>
              <a:gd name="connsiteX209" fmla="*/ 2853979 w 11269336"/>
              <a:gd name="connsiteY209" fmla="*/ 2090388 h 2323145"/>
              <a:gd name="connsiteX210" fmla="*/ 2791790 w 11269336"/>
              <a:gd name="connsiteY210" fmla="*/ 2080332 h 2323145"/>
              <a:gd name="connsiteX211" fmla="*/ 2755844 w 11269336"/>
              <a:gd name="connsiteY211" fmla="*/ 2078874 h 2323145"/>
              <a:gd name="connsiteX212" fmla="*/ 2657742 w 11269336"/>
              <a:gd name="connsiteY212" fmla="*/ 2070179 h 2323145"/>
              <a:gd name="connsiteX213" fmla="*/ 2559549 w 11269336"/>
              <a:gd name="connsiteY213" fmla="*/ 2057873 h 2323145"/>
              <a:gd name="connsiteX214" fmla="*/ 2512054 w 11269336"/>
              <a:gd name="connsiteY214" fmla="*/ 2031671 h 2323145"/>
              <a:gd name="connsiteX215" fmla="*/ 2506437 w 11269336"/>
              <a:gd name="connsiteY215" fmla="*/ 2030918 h 2323145"/>
              <a:gd name="connsiteX216" fmla="*/ 2491752 w 11269336"/>
              <a:gd name="connsiteY216" fmla="*/ 2033906 h 2323145"/>
              <a:gd name="connsiteX217" fmla="*/ 2486338 w 11269336"/>
              <a:gd name="connsiteY217" fmla="*/ 2035862 h 2323145"/>
              <a:gd name="connsiteX218" fmla="*/ 2478186 w 11269336"/>
              <a:gd name="connsiteY218" fmla="*/ 2036953 h 2323145"/>
              <a:gd name="connsiteX219" fmla="*/ 2477950 w 11269336"/>
              <a:gd name="connsiteY219" fmla="*/ 2036715 h 2323145"/>
              <a:gd name="connsiteX220" fmla="*/ 2470381 w 11269336"/>
              <a:gd name="connsiteY220" fmla="*/ 2038256 h 2323145"/>
              <a:gd name="connsiteX221" fmla="*/ 2433781 w 11269336"/>
              <a:gd name="connsiteY221" fmla="*/ 2049140 h 2323145"/>
              <a:gd name="connsiteX222" fmla="*/ 2381172 w 11269336"/>
              <a:gd name="connsiteY222" fmla="*/ 2030645 h 2323145"/>
              <a:gd name="connsiteX223" fmla="*/ 2360198 w 11269336"/>
              <a:gd name="connsiteY223" fmla="*/ 2029059 h 2323145"/>
              <a:gd name="connsiteX224" fmla="*/ 2348815 w 11269336"/>
              <a:gd name="connsiteY224" fmla="*/ 2026798 h 2323145"/>
              <a:gd name="connsiteX225" fmla="*/ 2347988 w 11269336"/>
              <a:gd name="connsiteY225" fmla="*/ 2025745 h 2323145"/>
              <a:gd name="connsiteX226" fmla="*/ 2312920 w 11269336"/>
              <a:gd name="connsiteY226" fmla="*/ 2036311 h 2323145"/>
              <a:gd name="connsiteX227" fmla="*/ 2307986 w 11269336"/>
              <a:gd name="connsiteY227" fmla="*/ 2035583 h 2323145"/>
              <a:gd name="connsiteX228" fmla="*/ 2285481 w 11269336"/>
              <a:gd name="connsiteY228" fmla="*/ 2045197 h 2323145"/>
              <a:gd name="connsiteX229" fmla="*/ 2273666 w 11269336"/>
              <a:gd name="connsiteY229" fmla="*/ 2048710 h 2323145"/>
              <a:gd name="connsiteX230" fmla="*/ 2270719 w 11269336"/>
              <a:gd name="connsiteY230" fmla="*/ 2052702 h 2323145"/>
              <a:gd name="connsiteX231" fmla="*/ 2253080 w 11269336"/>
              <a:gd name="connsiteY231" fmla="*/ 2056363 h 2323145"/>
              <a:gd name="connsiteX232" fmla="*/ 2250906 w 11269336"/>
              <a:gd name="connsiteY232" fmla="*/ 2055654 h 2323145"/>
              <a:gd name="connsiteX233" fmla="*/ 2236905 w 11269336"/>
              <a:gd name="connsiteY233" fmla="*/ 2062882 h 2323145"/>
              <a:gd name="connsiteX234" fmla="*/ 2225830 w 11269336"/>
              <a:gd name="connsiteY234" fmla="*/ 2074027 h 2323145"/>
              <a:gd name="connsiteX235" fmla="*/ 2073776 w 11269336"/>
              <a:gd name="connsiteY235" fmla="*/ 2089244 h 2323145"/>
              <a:gd name="connsiteX236" fmla="*/ 1948256 w 11269336"/>
              <a:gd name="connsiteY236" fmla="*/ 2146616 h 2323145"/>
              <a:gd name="connsiteX237" fmla="*/ 1865582 w 11269336"/>
              <a:gd name="connsiteY237" fmla="*/ 2153738 h 2323145"/>
              <a:gd name="connsiteX238" fmla="*/ 1835210 w 11269336"/>
              <a:gd name="connsiteY238" fmla="*/ 2134244 h 2323145"/>
              <a:gd name="connsiteX239" fmla="*/ 1632661 w 11269336"/>
              <a:gd name="connsiteY239" fmla="*/ 2173882 h 2323145"/>
              <a:gd name="connsiteX240" fmla="*/ 1579590 w 11269336"/>
              <a:gd name="connsiteY240" fmla="*/ 2173680 h 2323145"/>
              <a:gd name="connsiteX241" fmla="*/ 1535601 w 11269336"/>
              <a:gd name="connsiteY241" fmla="*/ 2194590 h 2323145"/>
              <a:gd name="connsiteX242" fmla="*/ 1515594 w 11269336"/>
              <a:gd name="connsiteY242" fmla="*/ 2189622 h 2323145"/>
              <a:gd name="connsiteX243" fmla="*/ 1512113 w 11269336"/>
              <a:gd name="connsiteY243" fmla="*/ 2188534 h 2323145"/>
              <a:gd name="connsiteX244" fmla="*/ 1498838 w 11269336"/>
              <a:gd name="connsiteY244" fmla="*/ 2189213 h 2323145"/>
              <a:gd name="connsiteX245" fmla="*/ 1494279 w 11269336"/>
              <a:gd name="connsiteY245" fmla="*/ 2183112 h 2323145"/>
              <a:gd name="connsiteX246" fmla="*/ 1473714 w 11269336"/>
              <a:gd name="connsiteY246" fmla="*/ 2179625 h 2323145"/>
              <a:gd name="connsiteX247" fmla="*/ 1449503 w 11269336"/>
              <a:gd name="connsiteY247" fmla="*/ 2182633 h 2323145"/>
              <a:gd name="connsiteX248" fmla="*/ 1335495 w 11269336"/>
              <a:gd name="connsiteY248" fmla="*/ 2203940 h 2323145"/>
              <a:gd name="connsiteX249" fmla="*/ 1266687 w 11269336"/>
              <a:gd name="connsiteY249" fmla="*/ 2212688 h 2323145"/>
              <a:gd name="connsiteX250" fmla="*/ 1239614 w 11269336"/>
              <a:gd name="connsiteY250" fmla="*/ 2209727 h 2323145"/>
              <a:gd name="connsiteX251" fmla="*/ 1202436 w 11269336"/>
              <a:gd name="connsiteY251" fmla="*/ 2209817 h 2323145"/>
              <a:gd name="connsiteX252" fmla="*/ 1136097 w 11269336"/>
              <a:gd name="connsiteY252" fmla="*/ 2205112 h 2323145"/>
              <a:gd name="connsiteX253" fmla="*/ 1048229 w 11269336"/>
              <a:gd name="connsiteY253" fmla="*/ 2207249 h 2323145"/>
              <a:gd name="connsiteX254" fmla="*/ 988232 w 11269336"/>
              <a:gd name="connsiteY254" fmla="*/ 2235635 h 2323145"/>
              <a:gd name="connsiteX255" fmla="*/ 981959 w 11269336"/>
              <a:gd name="connsiteY255" fmla="*/ 2231607 h 2323145"/>
              <a:gd name="connsiteX256" fmla="*/ 938600 w 11269336"/>
              <a:gd name="connsiteY256" fmla="*/ 2238113 h 2323145"/>
              <a:gd name="connsiteX257" fmla="*/ 791788 w 11269336"/>
              <a:gd name="connsiteY257" fmla="*/ 2293224 h 2323145"/>
              <a:gd name="connsiteX258" fmla="*/ 706914 w 11269336"/>
              <a:gd name="connsiteY258" fmla="*/ 2305046 h 2323145"/>
              <a:gd name="connsiteX259" fmla="*/ 675971 w 11269336"/>
              <a:gd name="connsiteY259" fmla="*/ 2304030 h 2323145"/>
              <a:gd name="connsiteX260" fmla="*/ 624180 w 11269336"/>
              <a:gd name="connsiteY260" fmla="*/ 2302650 h 2323145"/>
              <a:gd name="connsiteX261" fmla="*/ 583453 w 11269336"/>
              <a:gd name="connsiteY261" fmla="*/ 2288788 h 2323145"/>
              <a:gd name="connsiteX262" fmla="*/ 540946 w 11269336"/>
              <a:gd name="connsiteY262" fmla="*/ 2292721 h 2323145"/>
              <a:gd name="connsiteX263" fmla="*/ 533680 w 11269336"/>
              <a:gd name="connsiteY263" fmla="*/ 2310233 h 2323145"/>
              <a:gd name="connsiteX264" fmla="*/ 487366 w 11269336"/>
              <a:gd name="connsiteY264" fmla="*/ 2309053 h 2323145"/>
              <a:gd name="connsiteX265" fmla="*/ 416820 w 11269336"/>
              <a:gd name="connsiteY265" fmla="*/ 2305443 h 2323145"/>
              <a:gd name="connsiteX266" fmla="*/ 376805 w 11269336"/>
              <a:gd name="connsiteY266" fmla="*/ 2307647 h 2323145"/>
              <a:gd name="connsiteX267" fmla="*/ 266777 w 11269336"/>
              <a:gd name="connsiteY267" fmla="*/ 2309012 h 2323145"/>
              <a:gd name="connsiteX268" fmla="*/ 156013 w 11269336"/>
              <a:gd name="connsiteY268" fmla="*/ 2306832 h 2323145"/>
              <a:gd name="connsiteX269" fmla="*/ 87258 w 11269336"/>
              <a:gd name="connsiteY269" fmla="*/ 2285511 h 2323145"/>
              <a:gd name="connsiteX270" fmla="*/ 23798 w 11269336"/>
              <a:gd name="connsiteY270" fmla="*/ 2281822 h 2323145"/>
              <a:gd name="connsiteX271" fmla="*/ 0 w 11269336"/>
              <a:gd name="connsiteY271" fmla="*/ 2285369 h 2323145"/>
              <a:gd name="connsiteX272" fmla="*/ 0 w 11269336"/>
              <a:gd name="connsiteY27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60738 w 11269336"/>
              <a:gd name="connsiteY140" fmla="*/ 208327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460591 w 11269336"/>
              <a:gd name="connsiteY184" fmla="*/ 2097951 h 2323145"/>
              <a:gd name="connsiteX185" fmla="*/ 3320348 w 11269336"/>
              <a:gd name="connsiteY185" fmla="*/ 2130191 h 2323145"/>
              <a:gd name="connsiteX186" fmla="*/ 3170922 w 11269336"/>
              <a:gd name="connsiteY186" fmla="*/ 2115957 h 2323145"/>
              <a:gd name="connsiteX187" fmla="*/ 3156256 w 11269336"/>
              <a:gd name="connsiteY187" fmla="*/ 2124773 h 2323145"/>
              <a:gd name="connsiteX188" fmla="*/ 3140298 w 11269336"/>
              <a:gd name="connsiteY188" fmla="*/ 2129182 h 2323145"/>
              <a:gd name="connsiteX189" fmla="*/ 3138514 w 11269336"/>
              <a:gd name="connsiteY189" fmla="*/ 2128069 h 2323145"/>
              <a:gd name="connsiteX190" fmla="*/ 3120467 w 11269336"/>
              <a:gd name="connsiteY190" fmla="*/ 2128281 h 2323145"/>
              <a:gd name="connsiteX191" fmla="*/ 3116175 w 11269336"/>
              <a:gd name="connsiteY191" fmla="*/ 2131633 h 2323145"/>
              <a:gd name="connsiteX192" fmla="*/ 3103685 w 11269336"/>
              <a:gd name="connsiteY192" fmla="*/ 2132814 h 2323145"/>
              <a:gd name="connsiteX193" fmla="*/ 3078794 w 11269336"/>
              <a:gd name="connsiteY193" fmla="*/ 2137935 h 2323145"/>
              <a:gd name="connsiteX194" fmla="*/ 3074407 w 11269336"/>
              <a:gd name="connsiteY194" fmla="*/ 2136274 h 2323145"/>
              <a:gd name="connsiteX195" fmla="*/ 3037285 w 11269336"/>
              <a:gd name="connsiteY195" fmla="*/ 2139919 h 2323145"/>
              <a:gd name="connsiteX196" fmla="*/ 3036901 w 11269336"/>
              <a:gd name="connsiteY196" fmla="*/ 2138726 h 2323145"/>
              <a:gd name="connsiteX197" fmla="*/ 3026996 w 11269336"/>
              <a:gd name="connsiteY197" fmla="*/ 2134322 h 2323145"/>
              <a:gd name="connsiteX198" fmla="*/ 3007772 w 11269336"/>
              <a:gd name="connsiteY198" fmla="*/ 2128742 h 2323145"/>
              <a:gd name="connsiteX199" fmla="*/ 2965030 w 11269336"/>
              <a:gd name="connsiteY199" fmla="*/ 2100494 h 2323145"/>
              <a:gd name="connsiteX200" fmla="*/ 2926342 w 11269336"/>
              <a:gd name="connsiteY200" fmla="*/ 2104155 h 2323145"/>
              <a:gd name="connsiteX201" fmla="*/ 2918608 w 11269336"/>
              <a:gd name="connsiteY201" fmla="*/ 2104215 h 2323145"/>
              <a:gd name="connsiteX202" fmla="*/ 2918475 w 11269336"/>
              <a:gd name="connsiteY202" fmla="*/ 2103937 h 2323145"/>
              <a:gd name="connsiteX203" fmla="*/ 2910360 w 11269336"/>
              <a:gd name="connsiteY203" fmla="*/ 2103444 h 2323145"/>
              <a:gd name="connsiteX204" fmla="*/ 2904507 w 11269336"/>
              <a:gd name="connsiteY204" fmla="*/ 2104326 h 2323145"/>
              <a:gd name="connsiteX205" fmla="*/ 2889503 w 11269336"/>
              <a:gd name="connsiteY205" fmla="*/ 2104443 h 2323145"/>
              <a:gd name="connsiteX206" fmla="*/ 2884480 w 11269336"/>
              <a:gd name="connsiteY206" fmla="*/ 2102626 h 2323145"/>
              <a:gd name="connsiteX207" fmla="*/ 2882689 w 11269336"/>
              <a:gd name="connsiteY207" fmla="*/ 2099228 h 2323145"/>
              <a:gd name="connsiteX208" fmla="*/ 2881291 w 11269336"/>
              <a:gd name="connsiteY208" fmla="*/ 2099618 h 2323145"/>
              <a:gd name="connsiteX209" fmla="*/ 2853979 w 11269336"/>
              <a:gd name="connsiteY209" fmla="*/ 2090388 h 2323145"/>
              <a:gd name="connsiteX210" fmla="*/ 2791790 w 11269336"/>
              <a:gd name="connsiteY210" fmla="*/ 2080332 h 2323145"/>
              <a:gd name="connsiteX211" fmla="*/ 2755844 w 11269336"/>
              <a:gd name="connsiteY211" fmla="*/ 2078874 h 2323145"/>
              <a:gd name="connsiteX212" fmla="*/ 2657742 w 11269336"/>
              <a:gd name="connsiteY212" fmla="*/ 2070179 h 2323145"/>
              <a:gd name="connsiteX213" fmla="*/ 2559549 w 11269336"/>
              <a:gd name="connsiteY213" fmla="*/ 2057873 h 2323145"/>
              <a:gd name="connsiteX214" fmla="*/ 2512054 w 11269336"/>
              <a:gd name="connsiteY214" fmla="*/ 2031671 h 2323145"/>
              <a:gd name="connsiteX215" fmla="*/ 2506437 w 11269336"/>
              <a:gd name="connsiteY215" fmla="*/ 2030918 h 2323145"/>
              <a:gd name="connsiteX216" fmla="*/ 2491752 w 11269336"/>
              <a:gd name="connsiteY216" fmla="*/ 2033906 h 2323145"/>
              <a:gd name="connsiteX217" fmla="*/ 2486338 w 11269336"/>
              <a:gd name="connsiteY217" fmla="*/ 2035862 h 2323145"/>
              <a:gd name="connsiteX218" fmla="*/ 2478186 w 11269336"/>
              <a:gd name="connsiteY218" fmla="*/ 2036953 h 2323145"/>
              <a:gd name="connsiteX219" fmla="*/ 2477950 w 11269336"/>
              <a:gd name="connsiteY219" fmla="*/ 2036715 h 2323145"/>
              <a:gd name="connsiteX220" fmla="*/ 2470381 w 11269336"/>
              <a:gd name="connsiteY220" fmla="*/ 2038256 h 2323145"/>
              <a:gd name="connsiteX221" fmla="*/ 2433781 w 11269336"/>
              <a:gd name="connsiteY221" fmla="*/ 2049140 h 2323145"/>
              <a:gd name="connsiteX222" fmla="*/ 2381172 w 11269336"/>
              <a:gd name="connsiteY222" fmla="*/ 2030645 h 2323145"/>
              <a:gd name="connsiteX223" fmla="*/ 2360198 w 11269336"/>
              <a:gd name="connsiteY223" fmla="*/ 2029059 h 2323145"/>
              <a:gd name="connsiteX224" fmla="*/ 2348815 w 11269336"/>
              <a:gd name="connsiteY224" fmla="*/ 2026798 h 2323145"/>
              <a:gd name="connsiteX225" fmla="*/ 2347988 w 11269336"/>
              <a:gd name="connsiteY225" fmla="*/ 2025745 h 2323145"/>
              <a:gd name="connsiteX226" fmla="*/ 2312920 w 11269336"/>
              <a:gd name="connsiteY226" fmla="*/ 2036311 h 2323145"/>
              <a:gd name="connsiteX227" fmla="*/ 2307986 w 11269336"/>
              <a:gd name="connsiteY227" fmla="*/ 2035583 h 2323145"/>
              <a:gd name="connsiteX228" fmla="*/ 2285481 w 11269336"/>
              <a:gd name="connsiteY228" fmla="*/ 2045197 h 2323145"/>
              <a:gd name="connsiteX229" fmla="*/ 2273666 w 11269336"/>
              <a:gd name="connsiteY229" fmla="*/ 2048710 h 2323145"/>
              <a:gd name="connsiteX230" fmla="*/ 2270719 w 11269336"/>
              <a:gd name="connsiteY230" fmla="*/ 2052702 h 2323145"/>
              <a:gd name="connsiteX231" fmla="*/ 2253080 w 11269336"/>
              <a:gd name="connsiteY231" fmla="*/ 2056363 h 2323145"/>
              <a:gd name="connsiteX232" fmla="*/ 2250906 w 11269336"/>
              <a:gd name="connsiteY232" fmla="*/ 2055654 h 2323145"/>
              <a:gd name="connsiteX233" fmla="*/ 2236905 w 11269336"/>
              <a:gd name="connsiteY233" fmla="*/ 2062882 h 2323145"/>
              <a:gd name="connsiteX234" fmla="*/ 2225830 w 11269336"/>
              <a:gd name="connsiteY234" fmla="*/ 2074027 h 2323145"/>
              <a:gd name="connsiteX235" fmla="*/ 2073776 w 11269336"/>
              <a:gd name="connsiteY235" fmla="*/ 2089244 h 2323145"/>
              <a:gd name="connsiteX236" fmla="*/ 1948256 w 11269336"/>
              <a:gd name="connsiteY236" fmla="*/ 2146616 h 2323145"/>
              <a:gd name="connsiteX237" fmla="*/ 1865582 w 11269336"/>
              <a:gd name="connsiteY237" fmla="*/ 2153738 h 2323145"/>
              <a:gd name="connsiteX238" fmla="*/ 1835210 w 11269336"/>
              <a:gd name="connsiteY238" fmla="*/ 2134244 h 2323145"/>
              <a:gd name="connsiteX239" fmla="*/ 1632661 w 11269336"/>
              <a:gd name="connsiteY239" fmla="*/ 2173882 h 2323145"/>
              <a:gd name="connsiteX240" fmla="*/ 1579590 w 11269336"/>
              <a:gd name="connsiteY240" fmla="*/ 2173680 h 2323145"/>
              <a:gd name="connsiteX241" fmla="*/ 1535601 w 11269336"/>
              <a:gd name="connsiteY241" fmla="*/ 2194590 h 2323145"/>
              <a:gd name="connsiteX242" fmla="*/ 1515594 w 11269336"/>
              <a:gd name="connsiteY242" fmla="*/ 2189622 h 2323145"/>
              <a:gd name="connsiteX243" fmla="*/ 1512113 w 11269336"/>
              <a:gd name="connsiteY243" fmla="*/ 2188534 h 2323145"/>
              <a:gd name="connsiteX244" fmla="*/ 1498838 w 11269336"/>
              <a:gd name="connsiteY244" fmla="*/ 2189213 h 2323145"/>
              <a:gd name="connsiteX245" fmla="*/ 1494279 w 11269336"/>
              <a:gd name="connsiteY245" fmla="*/ 2183112 h 2323145"/>
              <a:gd name="connsiteX246" fmla="*/ 1473714 w 11269336"/>
              <a:gd name="connsiteY246" fmla="*/ 2179625 h 2323145"/>
              <a:gd name="connsiteX247" fmla="*/ 1449503 w 11269336"/>
              <a:gd name="connsiteY247" fmla="*/ 2182633 h 2323145"/>
              <a:gd name="connsiteX248" fmla="*/ 1335495 w 11269336"/>
              <a:gd name="connsiteY248" fmla="*/ 2203940 h 2323145"/>
              <a:gd name="connsiteX249" fmla="*/ 1266687 w 11269336"/>
              <a:gd name="connsiteY249" fmla="*/ 2212688 h 2323145"/>
              <a:gd name="connsiteX250" fmla="*/ 1239614 w 11269336"/>
              <a:gd name="connsiteY250" fmla="*/ 2209727 h 2323145"/>
              <a:gd name="connsiteX251" fmla="*/ 1202436 w 11269336"/>
              <a:gd name="connsiteY251" fmla="*/ 2209817 h 2323145"/>
              <a:gd name="connsiteX252" fmla="*/ 1136097 w 11269336"/>
              <a:gd name="connsiteY252" fmla="*/ 2205112 h 2323145"/>
              <a:gd name="connsiteX253" fmla="*/ 1048229 w 11269336"/>
              <a:gd name="connsiteY253" fmla="*/ 2207249 h 2323145"/>
              <a:gd name="connsiteX254" fmla="*/ 988232 w 11269336"/>
              <a:gd name="connsiteY254" fmla="*/ 2235635 h 2323145"/>
              <a:gd name="connsiteX255" fmla="*/ 981959 w 11269336"/>
              <a:gd name="connsiteY255" fmla="*/ 2231607 h 2323145"/>
              <a:gd name="connsiteX256" fmla="*/ 938600 w 11269336"/>
              <a:gd name="connsiteY256" fmla="*/ 2238113 h 2323145"/>
              <a:gd name="connsiteX257" fmla="*/ 791788 w 11269336"/>
              <a:gd name="connsiteY257" fmla="*/ 2293224 h 2323145"/>
              <a:gd name="connsiteX258" fmla="*/ 706914 w 11269336"/>
              <a:gd name="connsiteY258" fmla="*/ 2305046 h 2323145"/>
              <a:gd name="connsiteX259" fmla="*/ 675971 w 11269336"/>
              <a:gd name="connsiteY259" fmla="*/ 2304030 h 2323145"/>
              <a:gd name="connsiteX260" fmla="*/ 624180 w 11269336"/>
              <a:gd name="connsiteY260" fmla="*/ 2302650 h 2323145"/>
              <a:gd name="connsiteX261" fmla="*/ 583453 w 11269336"/>
              <a:gd name="connsiteY261" fmla="*/ 2288788 h 2323145"/>
              <a:gd name="connsiteX262" fmla="*/ 540946 w 11269336"/>
              <a:gd name="connsiteY262" fmla="*/ 2292721 h 2323145"/>
              <a:gd name="connsiteX263" fmla="*/ 533680 w 11269336"/>
              <a:gd name="connsiteY263" fmla="*/ 2310233 h 2323145"/>
              <a:gd name="connsiteX264" fmla="*/ 487366 w 11269336"/>
              <a:gd name="connsiteY264" fmla="*/ 2309053 h 2323145"/>
              <a:gd name="connsiteX265" fmla="*/ 416820 w 11269336"/>
              <a:gd name="connsiteY265" fmla="*/ 2305443 h 2323145"/>
              <a:gd name="connsiteX266" fmla="*/ 376805 w 11269336"/>
              <a:gd name="connsiteY266" fmla="*/ 2307647 h 2323145"/>
              <a:gd name="connsiteX267" fmla="*/ 266777 w 11269336"/>
              <a:gd name="connsiteY267" fmla="*/ 2309012 h 2323145"/>
              <a:gd name="connsiteX268" fmla="*/ 156013 w 11269336"/>
              <a:gd name="connsiteY268" fmla="*/ 2306832 h 2323145"/>
              <a:gd name="connsiteX269" fmla="*/ 87258 w 11269336"/>
              <a:gd name="connsiteY269" fmla="*/ 2285511 h 2323145"/>
              <a:gd name="connsiteX270" fmla="*/ 23798 w 11269336"/>
              <a:gd name="connsiteY270" fmla="*/ 2281822 h 2323145"/>
              <a:gd name="connsiteX271" fmla="*/ 0 w 11269336"/>
              <a:gd name="connsiteY271" fmla="*/ 2285369 h 2323145"/>
              <a:gd name="connsiteX272" fmla="*/ 0 w 11269336"/>
              <a:gd name="connsiteY27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41688 w 11269336"/>
              <a:gd name="connsiteY140" fmla="*/ 202233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460591 w 11269336"/>
              <a:gd name="connsiteY184" fmla="*/ 2097951 h 2323145"/>
              <a:gd name="connsiteX185" fmla="*/ 3320348 w 11269336"/>
              <a:gd name="connsiteY185" fmla="*/ 2130191 h 2323145"/>
              <a:gd name="connsiteX186" fmla="*/ 3170922 w 11269336"/>
              <a:gd name="connsiteY186" fmla="*/ 2115957 h 2323145"/>
              <a:gd name="connsiteX187" fmla="*/ 3156256 w 11269336"/>
              <a:gd name="connsiteY187" fmla="*/ 2124773 h 2323145"/>
              <a:gd name="connsiteX188" fmla="*/ 3140298 w 11269336"/>
              <a:gd name="connsiteY188" fmla="*/ 2129182 h 2323145"/>
              <a:gd name="connsiteX189" fmla="*/ 3138514 w 11269336"/>
              <a:gd name="connsiteY189" fmla="*/ 2128069 h 2323145"/>
              <a:gd name="connsiteX190" fmla="*/ 3120467 w 11269336"/>
              <a:gd name="connsiteY190" fmla="*/ 2128281 h 2323145"/>
              <a:gd name="connsiteX191" fmla="*/ 3116175 w 11269336"/>
              <a:gd name="connsiteY191" fmla="*/ 2131633 h 2323145"/>
              <a:gd name="connsiteX192" fmla="*/ 3103685 w 11269336"/>
              <a:gd name="connsiteY192" fmla="*/ 2132814 h 2323145"/>
              <a:gd name="connsiteX193" fmla="*/ 3078794 w 11269336"/>
              <a:gd name="connsiteY193" fmla="*/ 2137935 h 2323145"/>
              <a:gd name="connsiteX194" fmla="*/ 3074407 w 11269336"/>
              <a:gd name="connsiteY194" fmla="*/ 2136274 h 2323145"/>
              <a:gd name="connsiteX195" fmla="*/ 3037285 w 11269336"/>
              <a:gd name="connsiteY195" fmla="*/ 2139919 h 2323145"/>
              <a:gd name="connsiteX196" fmla="*/ 3036901 w 11269336"/>
              <a:gd name="connsiteY196" fmla="*/ 2138726 h 2323145"/>
              <a:gd name="connsiteX197" fmla="*/ 3026996 w 11269336"/>
              <a:gd name="connsiteY197" fmla="*/ 2134322 h 2323145"/>
              <a:gd name="connsiteX198" fmla="*/ 3007772 w 11269336"/>
              <a:gd name="connsiteY198" fmla="*/ 2128742 h 2323145"/>
              <a:gd name="connsiteX199" fmla="*/ 2965030 w 11269336"/>
              <a:gd name="connsiteY199" fmla="*/ 2100494 h 2323145"/>
              <a:gd name="connsiteX200" fmla="*/ 2926342 w 11269336"/>
              <a:gd name="connsiteY200" fmla="*/ 2104155 h 2323145"/>
              <a:gd name="connsiteX201" fmla="*/ 2918608 w 11269336"/>
              <a:gd name="connsiteY201" fmla="*/ 2104215 h 2323145"/>
              <a:gd name="connsiteX202" fmla="*/ 2918475 w 11269336"/>
              <a:gd name="connsiteY202" fmla="*/ 2103937 h 2323145"/>
              <a:gd name="connsiteX203" fmla="*/ 2910360 w 11269336"/>
              <a:gd name="connsiteY203" fmla="*/ 2103444 h 2323145"/>
              <a:gd name="connsiteX204" fmla="*/ 2904507 w 11269336"/>
              <a:gd name="connsiteY204" fmla="*/ 2104326 h 2323145"/>
              <a:gd name="connsiteX205" fmla="*/ 2889503 w 11269336"/>
              <a:gd name="connsiteY205" fmla="*/ 2104443 h 2323145"/>
              <a:gd name="connsiteX206" fmla="*/ 2884480 w 11269336"/>
              <a:gd name="connsiteY206" fmla="*/ 2102626 h 2323145"/>
              <a:gd name="connsiteX207" fmla="*/ 2882689 w 11269336"/>
              <a:gd name="connsiteY207" fmla="*/ 2099228 h 2323145"/>
              <a:gd name="connsiteX208" fmla="*/ 2881291 w 11269336"/>
              <a:gd name="connsiteY208" fmla="*/ 2099618 h 2323145"/>
              <a:gd name="connsiteX209" fmla="*/ 2853979 w 11269336"/>
              <a:gd name="connsiteY209" fmla="*/ 2090388 h 2323145"/>
              <a:gd name="connsiteX210" fmla="*/ 2791790 w 11269336"/>
              <a:gd name="connsiteY210" fmla="*/ 2080332 h 2323145"/>
              <a:gd name="connsiteX211" fmla="*/ 2755844 w 11269336"/>
              <a:gd name="connsiteY211" fmla="*/ 2078874 h 2323145"/>
              <a:gd name="connsiteX212" fmla="*/ 2657742 w 11269336"/>
              <a:gd name="connsiteY212" fmla="*/ 2070179 h 2323145"/>
              <a:gd name="connsiteX213" fmla="*/ 2559549 w 11269336"/>
              <a:gd name="connsiteY213" fmla="*/ 2057873 h 2323145"/>
              <a:gd name="connsiteX214" fmla="*/ 2512054 w 11269336"/>
              <a:gd name="connsiteY214" fmla="*/ 2031671 h 2323145"/>
              <a:gd name="connsiteX215" fmla="*/ 2506437 w 11269336"/>
              <a:gd name="connsiteY215" fmla="*/ 2030918 h 2323145"/>
              <a:gd name="connsiteX216" fmla="*/ 2491752 w 11269336"/>
              <a:gd name="connsiteY216" fmla="*/ 2033906 h 2323145"/>
              <a:gd name="connsiteX217" fmla="*/ 2486338 w 11269336"/>
              <a:gd name="connsiteY217" fmla="*/ 2035862 h 2323145"/>
              <a:gd name="connsiteX218" fmla="*/ 2478186 w 11269336"/>
              <a:gd name="connsiteY218" fmla="*/ 2036953 h 2323145"/>
              <a:gd name="connsiteX219" fmla="*/ 2477950 w 11269336"/>
              <a:gd name="connsiteY219" fmla="*/ 2036715 h 2323145"/>
              <a:gd name="connsiteX220" fmla="*/ 2470381 w 11269336"/>
              <a:gd name="connsiteY220" fmla="*/ 2038256 h 2323145"/>
              <a:gd name="connsiteX221" fmla="*/ 2433781 w 11269336"/>
              <a:gd name="connsiteY221" fmla="*/ 2049140 h 2323145"/>
              <a:gd name="connsiteX222" fmla="*/ 2381172 w 11269336"/>
              <a:gd name="connsiteY222" fmla="*/ 2030645 h 2323145"/>
              <a:gd name="connsiteX223" fmla="*/ 2360198 w 11269336"/>
              <a:gd name="connsiteY223" fmla="*/ 2029059 h 2323145"/>
              <a:gd name="connsiteX224" fmla="*/ 2348815 w 11269336"/>
              <a:gd name="connsiteY224" fmla="*/ 2026798 h 2323145"/>
              <a:gd name="connsiteX225" fmla="*/ 2347988 w 11269336"/>
              <a:gd name="connsiteY225" fmla="*/ 2025745 h 2323145"/>
              <a:gd name="connsiteX226" fmla="*/ 2312920 w 11269336"/>
              <a:gd name="connsiteY226" fmla="*/ 2036311 h 2323145"/>
              <a:gd name="connsiteX227" fmla="*/ 2307986 w 11269336"/>
              <a:gd name="connsiteY227" fmla="*/ 2035583 h 2323145"/>
              <a:gd name="connsiteX228" fmla="*/ 2285481 w 11269336"/>
              <a:gd name="connsiteY228" fmla="*/ 2045197 h 2323145"/>
              <a:gd name="connsiteX229" fmla="*/ 2273666 w 11269336"/>
              <a:gd name="connsiteY229" fmla="*/ 2048710 h 2323145"/>
              <a:gd name="connsiteX230" fmla="*/ 2270719 w 11269336"/>
              <a:gd name="connsiteY230" fmla="*/ 2052702 h 2323145"/>
              <a:gd name="connsiteX231" fmla="*/ 2253080 w 11269336"/>
              <a:gd name="connsiteY231" fmla="*/ 2056363 h 2323145"/>
              <a:gd name="connsiteX232" fmla="*/ 2250906 w 11269336"/>
              <a:gd name="connsiteY232" fmla="*/ 2055654 h 2323145"/>
              <a:gd name="connsiteX233" fmla="*/ 2236905 w 11269336"/>
              <a:gd name="connsiteY233" fmla="*/ 2062882 h 2323145"/>
              <a:gd name="connsiteX234" fmla="*/ 2225830 w 11269336"/>
              <a:gd name="connsiteY234" fmla="*/ 2074027 h 2323145"/>
              <a:gd name="connsiteX235" fmla="*/ 2073776 w 11269336"/>
              <a:gd name="connsiteY235" fmla="*/ 2089244 h 2323145"/>
              <a:gd name="connsiteX236" fmla="*/ 1948256 w 11269336"/>
              <a:gd name="connsiteY236" fmla="*/ 2146616 h 2323145"/>
              <a:gd name="connsiteX237" fmla="*/ 1865582 w 11269336"/>
              <a:gd name="connsiteY237" fmla="*/ 2153738 h 2323145"/>
              <a:gd name="connsiteX238" fmla="*/ 1835210 w 11269336"/>
              <a:gd name="connsiteY238" fmla="*/ 2134244 h 2323145"/>
              <a:gd name="connsiteX239" fmla="*/ 1632661 w 11269336"/>
              <a:gd name="connsiteY239" fmla="*/ 2173882 h 2323145"/>
              <a:gd name="connsiteX240" fmla="*/ 1579590 w 11269336"/>
              <a:gd name="connsiteY240" fmla="*/ 2173680 h 2323145"/>
              <a:gd name="connsiteX241" fmla="*/ 1535601 w 11269336"/>
              <a:gd name="connsiteY241" fmla="*/ 2194590 h 2323145"/>
              <a:gd name="connsiteX242" fmla="*/ 1515594 w 11269336"/>
              <a:gd name="connsiteY242" fmla="*/ 2189622 h 2323145"/>
              <a:gd name="connsiteX243" fmla="*/ 1512113 w 11269336"/>
              <a:gd name="connsiteY243" fmla="*/ 2188534 h 2323145"/>
              <a:gd name="connsiteX244" fmla="*/ 1498838 w 11269336"/>
              <a:gd name="connsiteY244" fmla="*/ 2189213 h 2323145"/>
              <a:gd name="connsiteX245" fmla="*/ 1494279 w 11269336"/>
              <a:gd name="connsiteY245" fmla="*/ 2183112 h 2323145"/>
              <a:gd name="connsiteX246" fmla="*/ 1473714 w 11269336"/>
              <a:gd name="connsiteY246" fmla="*/ 2179625 h 2323145"/>
              <a:gd name="connsiteX247" fmla="*/ 1449503 w 11269336"/>
              <a:gd name="connsiteY247" fmla="*/ 2182633 h 2323145"/>
              <a:gd name="connsiteX248" fmla="*/ 1335495 w 11269336"/>
              <a:gd name="connsiteY248" fmla="*/ 2203940 h 2323145"/>
              <a:gd name="connsiteX249" fmla="*/ 1266687 w 11269336"/>
              <a:gd name="connsiteY249" fmla="*/ 2212688 h 2323145"/>
              <a:gd name="connsiteX250" fmla="*/ 1239614 w 11269336"/>
              <a:gd name="connsiteY250" fmla="*/ 2209727 h 2323145"/>
              <a:gd name="connsiteX251" fmla="*/ 1202436 w 11269336"/>
              <a:gd name="connsiteY251" fmla="*/ 2209817 h 2323145"/>
              <a:gd name="connsiteX252" fmla="*/ 1136097 w 11269336"/>
              <a:gd name="connsiteY252" fmla="*/ 2205112 h 2323145"/>
              <a:gd name="connsiteX253" fmla="*/ 1048229 w 11269336"/>
              <a:gd name="connsiteY253" fmla="*/ 2207249 h 2323145"/>
              <a:gd name="connsiteX254" fmla="*/ 988232 w 11269336"/>
              <a:gd name="connsiteY254" fmla="*/ 2235635 h 2323145"/>
              <a:gd name="connsiteX255" fmla="*/ 981959 w 11269336"/>
              <a:gd name="connsiteY255" fmla="*/ 2231607 h 2323145"/>
              <a:gd name="connsiteX256" fmla="*/ 938600 w 11269336"/>
              <a:gd name="connsiteY256" fmla="*/ 2238113 h 2323145"/>
              <a:gd name="connsiteX257" fmla="*/ 791788 w 11269336"/>
              <a:gd name="connsiteY257" fmla="*/ 2293224 h 2323145"/>
              <a:gd name="connsiteX258" fmla="*/ 706914 w 11269336"/>
              <a:gd name="connsiteY258" fmla="*/ 2305046 h 2323145"/>
              <a:gd name="connsiteX259" fmla="*/ 675971 w 11269336"/>
              <a:gd name="connsiteY259" fmla="*/ 2304030 h 2323145"/>
              <a:gd name="connsiteX260" fmla="*/ 624180 w 11269336"/>
              <a:gd name="connsiteY260" fmla="*/ 2302650 h 2323145"/>
              <a:gd name="connsiteX261" fmla="*/ 583453 w 11269336"/>
              <a:gd name="connsiteY261" fmla="*/ 2288788 h 2323145"/>
              <a:gd name="connsiteX262" fmla="*/ 540946 w 11269336"/>
              <a:gd name="connsiteY262" fmla="*/ 2292721 h 2323145"/>
              <a:gd name="connsiteX263" fmla="*/ 533680 w 11269336"/>
              <a:gd name="connsiteY263" fmla="*/ 2310233 h 2323145"/>
              <a:gd name="connsiteX264" fmla="*/ 487366 w 11269336"/>
              <a:gd name="connsiteY264" fmla="*/ 2309053 h 2323145"/>
              <a:gd name="connsiteX265" fmla="*/ 416820 w 11269336"/>
              <a:gd name="connsiteY265" fmla="*/ 2305443 h 2323145"/>
              <a:gd name="connsiteX266" fmla="*/ 376805 w 11269336"/>
              <a:gd name="connsiteY266" fmla="*/ 2307647 h 2323145"/>
              <a:gd name="connsiteX267" fmla="*/ 266777 w 11269336"/>
              <a:gd name="connsiteY267" fmla="*/ 2309012 h 2323145"/>
              <a:gd name="connsiteX268" fmla="*/ 156013 w 11269336"/>
              <a:gd name="connsiteY268" fmla="*/ 2306832 h 2323145"/>
              <a:gd name="connsiteX269" fmla="*/ 87258 w 11269336"/>
              <a:gd name="connsiteY269" fmla="*/ 2285511 h 2323145"/>
              <a:gd name="connsiteX270" fmla="*/ 23798 w 11269336"/>
              <a:gd name="connsiteY270" fmla="*/ 2281822 h 2323145"/>
              <a:gd name="connsiteX271" fmla="*/ 0 w 11269336"/>
              <a:gd name="connsiteY271" fmla="*/ 2285369 h 2323145"/>
              <a:gd name="connsiteX272" fmla="*/ 0 w 11269336"/>
              <a:gd name="connsiteY27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41688 w 11269336"/>
              <a:gd name="connsiteY140" fmla="*/ 202233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460591 w 11269336"/>
              <a:gd name="connsiteY184" fmla="*/ 2097951 h 2323145"/>
              <a:gd name="connsiteX185" fmla="*/ 3170922 w 11269336"/>
              <a:gd name="connsiteY185" fmla="*/ 2115957 h 2323145"/>
              <a:gd name="connsiteX186" fmla="*/ 3156256 w 11269336"/>
              <a:gd name="connsiteY186" fmla="*/ 2124773 h 2323145"/>
              <a:gd name="connsiteX187" fmla="*/ 3140298 w 11269336"/>
              <a:gd name="connsiteY187" fmla="*/ 2129182 h 2323145"/>
              <a:gd name="connsiteX188" fmla="*/ 3138514 w 11269336"/>
              <a:gd name="connsiteY188" fmla="*/ 2128069 h 2323145"/>
              <a:gd name="connsiteX189" fmla="*/ 3120467 w 11269336"/>
              <a:gd name="connsiteY189" fmla="*/ 2128281 h 2323145"/>
              <a:gd name="connsiteX190" fmla="*/ 3116175 w 11269336"/>
              <a:gd name="connsiteY190" fmla="*/ 2131633 h 2323145"/>
              <a:gd name="connsiteX191" fmla="*/ 3103685 w 11269336"/>
              <a:gd name="connsiteY191" fmla="*/ 2132814 h 2323145"/>
              <a:gd name="connsiteX192" fmla="*/ 3078794 w 11269336"/>
              <a:gd name="connsiteY192" fmla="*/ 2137935 h 2323145"/>
              <a:gd name="connsiteX193" fmla="*/ 3074407 w 11269336"/>
              <a:gd name="connsiteY193" fmla="*/ 2136274 h 2323145"/>
              <a:gd name="connsiteX194" fmla="*/ 3037285 w 11269336"/>
              <a:gd name="connsiteY194" fmla="*/ 2139919 h 2323145"/>
              <a:gd name="connsiteX195" fmla="*/ 3036901 w 11269336"/>
              <a:gd name="connsiteY195" fmla="*/ 2138726 h 2323145"/>
              <a:gd name="connsiteX196" fmla="*/ 3026996 w 11269336"/>
              <a:gd name="connsiteY196" fmla="*/ 2134322 h 2323145"/>
              <a:gd name="connsiteX197" fmla="*/ 3007772 w 11269336"/>
              <a:gd name="connsiteY197" fmla="*/ 2128742 h 2323145"/>
              <a:gd name="connsiteX198" fmla="*/ 2965030 w 11269336"/>
              <a:gd name="connsiteY198" fmla="*/ 2100494 h 2323145"/>
              <a:gd name="connsiteX199" fmla="*/ 2926342 w 11269336"/>
              <a:gd name="connsiteY199" fmla="*/ 2104155 h 2323145"/>
              <a:gd name="connsiteX200" fmla="*/ 2918608 w 11269336"/>
              <a:gd name="connsiteY200" fmla="*/ 2104215 h 2323145"/>
              <a:gd name="connsiteX201" fmla="*/ 2918475 w 11269336"/>
              <a:gd name="connsiteY201" fmla="*/ 2103937 h 2323145"/>
              <a:gd name="connsiteX202" fmla="*/ 2910360 w 11269336"/>
              <a:gd name="connsiteY202" fmla="*/ 2103444 h 2323145"/>
              <a:gd name="connsiteX203" fmla="*/ 2904507 w 11269336"/>
              <a:gd name="connsiteY203" fmla="*/ 2104326 h 2323145"/>
              <a:gd name="connsiteX204" fmla="*/ 2889503 w 11269336"/>
              <a:gd name="connsiteY204" fmla="*/ 2104443 h 2323145"/>
              <a:gd name="connsiteX205" fmla="*/ 2884480 w 11269336"/>
              <a:gd name="connsiteY205" fmla="*/ 2102626 h 2323145"/>
              <a:gd name="connsiteX206" fmla="*/ 2882689 w 11269336"/>
              <a:gd name="connsiteY206" fmla="*/ 2099228 h 2323145"/>
              <a:gd name="connsiteX207" fmla="*/ 2881291 w 11269336"/>
              <a:gd name="connsiteY207" fmla="*/ 2099618 h 2323145"/>
              <a:gd name="connsiteX208" fmla="*/ 2853979 w 11269336"/>
              <a:gd name="connsiteY208" fmla="*/ 2090388 h 2323145"/>
              <a:gd name="connsiteX209" fmla="*/ 2791790 w 11269336"/>
              <a:gd name="connsiteY209" fmla="*/ 2080332 h 2323145"/>
              <a:gd name="connsiteX210" fmla="*/ 2755844 w 11269336"/>
              <a:gd name="connsiteY210" fmla="*/ 2078874 h 2323145"/>
              <a:gd name="connsiteX211" fmla="*/ 2657742 w 11269336"/>
              <a:gd name="connsiteY211" fmla="*/ 2070179 h 2323145"/>
              <a:gd name="connsiteX212" fmla="*/ 2559549 w 11269336"/>
              <a:gd name="connsiteY212" fmla="*/ 2057873 h 2323145"/>
              <a:gd name="connsiteX213" fmla="*/ 2512054 w 11269336"/>
              <a:gd name="connsiteY213" fmla="*/ 2031671 h 2323145"/>
              <a:gd name="connsiteX214" fmla="*/ 2506437 w 11269336"/>
              <a:gd name="connsiteY214" fmla="*/ 2030918 h 2323145"/>
              <a:gd name="connsiteX215" fmla="*/ 2491752 w 11269336"/>
              <a:gd name="connsiteY215" fmla="*/ 2033906 h 2323145"/>
              <a:gd name="connsiteX216" fmla="*/ 2486338 w 11269336"/>
              <a:gd name="connsiteY216" fmla="*/ 2035862 h 2323145"/>
              <a:gd name="connsiteX217" fmla="*/ 2478186 w 11269336"/>
              <a:gd name="connsiteY217" fmla="*/ 2036953 h 2323145"/>
              <a:gd name="connsiteX218" fmla="*/ 2477950 w 11269336"/>
              <a:gd name="connsiteY218" fmla="*/ 2036715 h 2323145"/>
              <a:gd name="connsiteX219" fmla="*/ 2470381 w 11269336"/>
              <a:gd name="connsiteY219" fmla="*/ 2038256 h 2323145"/>
              <a:gd name="connsiteX220" fmla="*/ 2433781 w 11269336"/>
              <a:gd name="connsiteY220" fmla="*/ 2049140 h 2323145"/>
              <a:gd name="connsiteX221" fmla="*/ 2381172 w 11269336"/>
              <a:gd name="connsiteY221" fmla="*/ 2030645 h 2323145"/>
              <a:gd name="connsiteX222" fmla="*/ 2360198 w 11269336"/>
              <a:gd name="connsiteY222" fmla="*/ 2029059 h 2323145"/>
              <a:gd name="connsiteX223" fmla="*/ 2348815 w 11269336"/>
              <a:gd name="connsiteY223" fmla="*/ 2026798 h 2323145"/>
              <a:gd name="connsiteX224" fmla="*/ 2347988 w 11269336"/>
              <a:gd name="connsiteY224" fmla="*/ 2025745 h 2323145"/>
              <a:gd name="connsiteX225" fmla="*/ 2312920 w 11269336"/>
              <a:gd name="connsiteY225" fmla="*/ 2036311 h 2323145"/>
              <a:gd name="connsiteX226" fmla="*/ 2307986 w 11269336"/>
              <a:gd name="connsiteY226" fmla="*/ 2035583 h 2323145"/>
              <a:gd name="connsiteX227" fmla="*/ 2285481 w 11269336"/>
              <a:gd name="connsiteY227" fmla="*/ 2045197 h 2323145"/>
              <a:gd name="connsiteX228" fmla="*/ 2273666 w 11269336"/>
              <a:gd name="connsiteY228" fmla="*/ 2048710 h 2323145"/>
              <a:gd name="connsiteX229" fmla="*/ 2270719 w 11269336"/>
              <a:gd name="connsiteY229" fmla="*/ 2052702 h 2323145"/>
              <a:gd name="connsiteX230" fmla="*/ 2253080 w 11269336"/>
              <a:gd name="connsiteY230" fmla="*/ 2056363 h 2323145"/>
              <a:gd name="connsiteX231" fmla="*/ 2250906 w 11269336"/>
              <a:gd name="connsiteY231" fmla="*/ 2055654 h 2323145"/>
              <a:gd name="connsiteX232" fmla="*/ 2236905 w 11269336"/>
              <a:gd name="connsiteY232" fmla="*/ 2062882 h 2323145"/>
              <a:gd name="connsiteX233" fmla="*/ 2225830 w 11269336"/>
              <a:gd name="connsiteY233" fmla="*/ 2074027 h 2323145"/>
              <a:gd name="connsiteX234" fmla="*/ 2073776 w 11269336"/>
              <a:gd name="connsiteY234" fmla="*/ 2089244 h 2323145"/>
              <a:gd name="connsiteX235" fmla="*/ 1948256 w 11269336"/>
              <a:gd name="connsiteY235" fmla="*/ 2146616 h 2323145"/>
              <a:gd name="connsiteX236" fmla="*/ 1865582 w 11269336"/>
              <a:gd name="connsiteY236" fmla="*/ 2153738 h 2323145"/>
              <a:gd name="connsiteX237" fmla="*/ 1835210 w 11269336"/>
              <a:gd name="connsiteY237" fmla="*/ 2134244 h 2323145"/>
              <a:gd name="connsiteX238" fmla="*/ 1632661 w 11269336"/>
              <a:gd name="connsiteY238" fmla="*/ 2173882 h 2323145"/>
              <a:gd name="connsiteX239" fmla="*/ 1579590 w 11269336"/>
              <a:gd name="connsiteY239" fmla="*/ 2173680 h 2323145"/>
              <a:gd name="connsiteX240" fmla="*/ 1535601 w 11269336"/>
              <a:gd name="connsiteY240" fmla="*/ 2194590 h 2323145"/>
              <a:gd name="connsiteX241" fmla="*/ 1515594 w 11269336"/>
              <a:gd name="connsiteY241" fmla="*/ 2189622 h 2323145"/>
              <a:gd name="connsiteX242" fmla="*/ 1512113 w 11269336"/>
              <a:gd name="connsiteY242" fmla="*/ 2188534 h 2323145"/>
              <a:gd name="connsiteX243" fmla="*/ 1498838 w 11269336"/>
              <a:gd name="connsiteY243" fmla="*/ 2189213 h 2323145"/>
              <a:gd name="connsiteX244" fmla="*/ 1494279 w 11269336"/>
              <a:gd name="connsiteY244" fmla="*/ 2183112 h 2323145"/>
              <a:gd name="connsiteX245" fmla="*/ 1473714 w 11269336"/>
              <a:gd name="connsiteY245" fmla="*/ 2179625 h 2323145"/>
              <a:gd name="connsiteX246" fmla="*/ 1449503 w 11269336"/>
              <a:gd name="connsiteY246" fmla="*/ 2182633 h 2323145"/>
              <a:gd name="connsiteX247" fmla="*/ 1335495 w 11269336"/>
              <a:gd name="connsiteY247" fmla="*/ 2203940 h 2323145"/>
              <a:gd name="connsiteX248" fmla="*/ 1266687 w 11269336"/>
              <a:gd name="connsiteY248" fmla="*/ 2212688 h 2323145"/>
              <a:gd name="connsiteX249" fmla="*/ 1239614 w 11269336"/>
              <a:gd name="connsiteY249" fmla="*/ 2209727 h 2323145"/>
              <a:gd name="connsiteX250" fmla="*/ 1202436 w 11269336"/>
              <a:gd name="connsiteY250" fmla="*/ 2209817 h 2323145"/>
              <a:gd name="connsiteX251" fmla="*/ 1136097 w 11269336"/>
              <a:gd name="connsiteY251" fmla="*/ 2205112 h 2323145"/>
              <a:gd name="connsiteX252" fmla="*/ 1048229 w 11269336"/>
              <a:gd name="connsiteY252" fmla="*/ 2207249 h 2323145"/>
              <a:gd name="connsiteX253" fmla="*/ 988232 w 11269336"/>
              <a:gd name="connsiteY253" fmla="*/ 2235635 h 2323145"/>
              <a:gd name="connsiteX254" fmla="*/ 981959 w 11269336"/>
              <a:gd name="connsiteY254" fmla="*/ 2231607 h 2323145"/>
              <a:gd name="connsiteX255" fmla="*/ 938600 w 11269336"/>
              <a:gd name="connsiteY255" fmla="*/ 2238113 h 2323145"/>
              <a:gd name="connsiteX256" fmla="*/ 791788 w 11269336"/>
              <a:gd name="connsiteY256" fmla="*/ 2293224 h 2323145"/>
              <a:gd name="connsiteX257" fmla="*/ 706914 w 11269336"/>
              <a:gd name="connsiteY257" fmla="*/ 2305046 h 2323145"/>
              <a:gd name="connsiteX258" fmla="*/ 675971 w 11269336"/>
              <a:gd name="connsiteY258" fmla="*/ 2304030 h 2323145"/>
              <a:gd name="connsiteX259" fmla="*/ 624180 w 11269336"/>
              <a:gd name="connsiteY259" fmla="*/ 2302650 h 2323145"/>
              <a:gd name="connsiteX260" fmla="*/ 583453 w 11269336"/>
              <a:gd name="connsiteY260" fmla="*/ 2288788 h 2323145"/>
              <a:gd name="connsiteX261" fmla="*/ 540946 w 11269336"/>
              <a:gd name="connsiteY261" fmla="*/ 2292721 h 2323145"/>
              <a:gd name="connsiteX262" fmla="*/ 533680 w 11269336"/>
              <a:gd name="connsiteY262" fmla="*/ 2310233 h 2323145"/>
              <a:gd name="connsiteX263" fmla="*/ 487366 w 11269336"/>
              <a:gd name="connsiteY263" fmla="*/ 2309053 h 2323145"/>
              <a:gd name="connsiteX264" fmla="*/ 416820 w 11269336"/>
              <a:gd name="connsiteY264" fmla="*/ 2305443 h 2323145"/>
              <a:gd name="connsiteX265" fmla="*/ 376805 w 11269336"/>
              <a:gd name="connsiteY265" fmla="*/ 2307647 h 2323145"/>
              <a:gd name="connsiteX266" fmla="*/ 266777 w 11269336"/>
              <a:gd name="connsiteY266" fmla="*/ 2309012 h 2323145"/>
              <a:gd name="connsiteX267" fmla="*/ 156013 w 11269336"/>
              <a:gd name="connsiteY267" fmla="*/ 2306832 h 2323145"/>
              <a:gd name="connsiteX268" fmla="*/ 87258 w 11269336"/>
              <a:gd name="connsiteY268" fmla="*/ 2285511 h 2323145"/>
              <a:gd name="connsiteX269" fmla="*/ 23798 w 11269336"/>
              <a:gd name="connsiteY269" fmla="*/ 2281822 h 2323145"/>
              <a:gd name="connsiteX270" fmla="*/ 0 w 11269336"/>
              <a:gd name="connsiteY270" fmla="*/ 2285369 h 2323145"/>
              <a:gd name="connsiteX271" fmla="*/ 0 w 11269336"/>
              <a:gd name="connsiteY271"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41688 w 11269336"/>
              <a:gd name="connsiteY140" fmla="*/ 202233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365341 w 11269336"/>
              <a:gd name="connsiteY184" fmla="*/ 2077638 h 2323145"/>
              <a:gd name="connsiteX185" fmla="*/ 3170922 w 11269336"/>
              <a:gd name="connsiteY185" fmla="*/ 2115957 h 2323145"/>
              <a:gd name="connsiteX186" fmla="*/ 3156256 w 11269336"/>
              <a:gd name="connsiteY186" fmla="*/ 2124773 h 2323145"/>
              <a:gd name="connsiteX187" fmla="*/ 3140298 w 11269336"/>
              <a:gd name="connsiteY187" fmla="*/ 2129182 h 2323145"/>
              <a:gd name="connsiteX188" fmla="*/ 3138514 w 11269336"/>
              <a:gd name="connsiteY188" fmla="*/ 2128069 h 2323145"/>
              <a:gd name="connsiteX189" fmla="*/ 3120467 w 11269336"/>
              <a:gd name="connsiteY189" fmla="*/ 2128281 h 2323145"/>
              <a:gd name="connsiteX190" fmla="*/ 3116175 w 11269336"/>
              <a:gd name="connsiteY190" fmla="*/ 2131633 h 2323145"/>
              <a:gd name="connsiteX191" fmla="*/ 3103685 w 11269336"/>
              <a:gd name="connsiteY191" fmla="*/ 2132814 h 2323145"/>
              <a:gd name="connsiteX192" fmla="*/ 3078794 w 11269336"/>
              <a:gd name="connsiteY192" fmla="*/ 2137935 h 2323145"/>
              <a:gd name="connsiteX193" fmla="*/ 3074407 w 11269336"/>
              <a:gd name="connsiteY193" fmla="*/ 2136274 h 2323145"/>
              <a:gd name="connsiteX194" fmla="*/ 3037285 w 11269336"/>
              <a:gd name="connsiteY194" fmla="*/ 2139919 h 2323145"/>
              <a:gd name="connsiteX195" fmla="*/ 3036901 w 11269336"/>
              <a:gd name="connsiteY195" fmla="*/ 2138726 h 2323145"/>
              <a:gd name="connsiteX196" fmla="*/ 3026996 w 11269336"/>
              <a:gd name="connsiteY196" fmla="*/ 2134322 h 2323145"/>
              <a:gd name="connsiteX197" fmla="*/ 3007772 w 11269336"/>
              <a:gd name="connsiteY197" fmla="*/ 2128742 h 2323145"/>
              <a:gd name="connsiteX198" fmla="*/ 2965030 w 11269336"/>
              <a:gd name="connsiteY198" fmla="*/ 2100494 h 2323145"/>
              <a:gd name="connsiteX199" fmla="*/ 2926342 w 11269336"/>
              <a:gd name="connsiteY199" fmla="*/ 2104155 h 2323145"/>
              <a:gd name="connsiteX200" fmla="*/ 2918608 w 11269336"/>
              <a:gd name="connsiteY200" fmla="*/ 2104215 h 2323145"/>
              <a:gd name="connsiteX201" fmla="*/ 2918475 w 11269336"/>
              <a:gd name="connsiteY201" fmla="*/ 2103937 h 2323145"/>
              <a:gd name="connsiteX202" fmla="*/ 2910360 w 11269336"/>
              <a:gd name="connsiteY202" fmla="*/ 2103444 h 2323145"/>
              <a:gd name="connsiteX203" fmla="*/ 2904507 w 11269336"/>
              <a:gd name="connsiteY203" fmla="*/ 2104326 h 2323145"/>
              <a:gd name="connsiteX204" fmla="*/ 2889503 w 11269336"/>
              <a:gd name="connsiteY204" fmla="*/ 2104443 h 2323145"/>
              <a:gd name="connsiteX205" fmla="*/ 2884480 w 11269336"/>
              <a:gd name="connsiteY205" fmla="*/ 2102626 h 2323145"/>
              <a:gd name="connsiteX206" fmla="*/ 2882689 w 11269336"/>
              <a:gd name="connsiteY206" fmla="*/ 2099228 h 2323145"/>
              <a:gd name="connsiteX207" fmla="*/ 2881291 w 11269336"/>
              <a:gd name="connsiteY207" fmla="*/ 2099618 h 2323145"/>
              <a:gd name="connsiteX208" fmla="*/ 2853979 w 11269336"/>
              <a:gd name="connsiteY208" fmla="*/ 2090388 h 2323145"/>
              <a:gd name="connsiteX209" fmla="*/ 2791790 w 11269336"/>
              <a:gd name="connsiteY209" fmla="*/ 2080332 h 2323145"/>
              <a:gd name="connsiteX210" fmla="*/ 2755844 w 11269336"/>
              <a:gd name="connsiteY210" fmla="*/ 2078874 h 2323145"/>
              <a:gd name="connsiteX211" fmla="*/ 2657742 w 11269336"/>
              <a:gd name="connsiteY211" fmla="*/ 2070179 h 2323145"/>
              <a:gd name="connsiteX212" fmla="*/ 2559549 w 11269336"/>
              <a:gd name="connsiteY212" fmla="*/ 2057873 h 2323145"/>
              <a:gd name="connsiteX213" fmla="*/ 2512054 w 11269336"/>
              <a:gd name="connsiteY213" fmla="*/ 2031671 h 2323145"/>
              <a:gd name="connsiteX214" fmla="*/ 2506437 w 11269336"/>
              <a:gd name="connsiteY214" fmla="*/ 2030918 h 2323145"/>
              <a:gd name="connsiteX215" fmla="*/ 2491752 w 11269336"/>
              <a:gd name="connsiteY215" fmla="*/ 2033906 h 2323145"/>
              <a:gd name="connsiteX216" fmla="*/ 2486338 w 11269336"/>
              <a:gd name="connsiteY216" fmla="*/ 2035862 h 2323145"/>
              <a:gd name="connsiteX217" fmla="*/ 2478186 w 11269336"/>
              <a:gd name="connsiteY217" fmla="*/ 2036953 h 2323145"/>
              <a:gd name="connsiteX218" fmla="*/ 2477950 w 11269336"/>
              <a:gd name="connsiteY218" fmla="*/ 2036715 h 2323145"/>
              <a:gd name="connsiteX219" fmla="*/ 2470381 w 11269336"/>
              <a:gd name="connsiteY219" fmla="*/ 2038256 h 2323145"/>
              <a:gd name="connsiteX220" fmla="*/ 2433781 w 11269336"/>
              <a:gd name="connsiteY220" fmla="*/ 2049140 h 2323145"/>
              <a:gd name="connsiteX221" fmla="*/ 2381172 w 11269336"/>
              <a:gd name="connsiteY221" fmla="*/ 2030645 h 2323145"/>
              <a:gd name="connsiteX222" fmla="*/ 2360198 w 11269336"/>
              <a:gd name="connsiteY222" fmla="*/ 2029059 h 2323145"/>
              <a:gd name="connsiteX223" fmla="*/ 2348815 w 11269336"/>
              <a:gd name="connsiteY223" fmla="*/ 2026798 h 2323145"/>
              <a:gd name="connsiteX224" fmla="*/ 2347988 w 11269336"/>
              <a:gd name="connsiteY224" fmla="*/ 2025745 h 2323145"/>
              <a:gd name="connsiteX225" fmla="*/ 2312920 w 11269336"/>
              <a:gd name="connsiteY225" fmla="*/ 2036311 h 2323145"/>
              <a:gd name="connsiteX226" fmla="*/ 2307986 w 11269336"/>
              <a:gd name="connsiteY226" fmla="*/ 2035583 h 2323145"/>
              <a:gd name="connsiteX227" fmla="*/ 2285481 w 11269336"/>
              <a:gd name="connsiteY227" fmla="*/ 2045197 h 2323145"/>
              <a:gd name="connsiteX228" fmla="*/ 2273666 w 11269336"/>
              <a:gd name="connsiteY228" fmla="*/ 2048710 h 2323145"/>
              <a:gd name="connsiteX229" fmla="*/ 2270719 w 11269336"/>
              <a:gd name="connsiteY229" fmla="*/ 2052702 h 2323145"/>
              <a:gd name="connsiteX230" fmla="*/ 2253080 w 11269336"/>
              <a:gd name="connsiteY230" fmla="*/ 2056363 h 2323145"/>
              <a:gd name="connsiteX231" fmla="*/ 2250906 w 11269336"/>
              <a:gd name="connsiteY231" fmla="*/ 2055654 h 2323145"/>
              <a:gd name="connsiteX232" fmla="*/ 2236905 w 11269336"/>
              <a:gd name="connsiteY232" fmla="*/ 2062882 h 2323145"/>
              <a:gd name="connsiteX233" fmla="*/ 2225830 w 11269336"/>
              <a:gd name="connsiteY233" fmla="*/ 2074027 h 2323145"/>
              <a:gd name="connsiteX234" fmla="*/ 2073776 w 11269336"/>
              <a:gd name="connsiteY234" fmla="*/ 2089244 h 2323145"/>
              <a:gd name="connsiteX235" fmla="*/ 1948256 w 11269336"/>
              <a:gd name="connsiteY235" fmla="*/ 2146616 h 2323145"/>
              <a:gd name="connsiteX236" fmla="*/ 1865582 w 11269336"/>
              <a:gd name="connsiteY236" fmla="*/ 2153738 h 2323145"/>
              <a:gd name="connsiteX237" fmla="*/ 1835210 w 11269336"/>
              <a:gd name="connsiteY237" fmla="*/ 2134244 h 2323145"/>
              <a:gd name="connsiteX238" fmla="*/ 1632661 w 11269336"/>
              <a:gd name="connsiteY238" fmla="*/ 2173882 h 2323145"/>
              <a:gd name="connsiteX239" fmla="*/ 1579590 w 11269336"/>
              <a:gd name="connsiteY239" fmla="*/ 2173680 h 2323145"/>
              <a:gd name="connsiteX240" fmla="*/ 1535601 w 11269336"/>
              <a:gd name="connsiteY240" fmla="*/ 2194590 h 2323145"/>
              <a:gd name="connsiteX241" fmla="*/ 1515594 w 11269336"/>
              <a:gd name="connsiteY241" fmla="*/ 2189622 h 2323145"/>
              <a:gd name="connsiteX242" fmla="*/ 1512113 w 11269336"/>
              <a:gd name="connsiteY242" fmla="*/ 2188534 h 2323145"/>
              <a:gd name="connsiteX243" fmla="*/ 1498838 w 11269336"/>
              <a:gd name="connsiteY243" fmla="*/ 2189213 h 2323145"/>
              <a:gd name="connsiteX244" fmla="*/ 1494279 w 11269336"/>
              <a:gd name="connsiteY244" fmla="*/ 2183112 h 2323145"/>
              <a:gd name="connsiteX245" fmla="*/ 1473714 w 11269336"/>
              <a:gd name="connsiteY245" fmla="*/ 2179625 h 2323145"/>
              <a:gd name="connsiteX246" fmla="*/ 1449503 w 11269336"/>
              <a:gd name="connsiteY246" fmla="*/ 2182633 h 2323145"/>
              <a:gd name="connsiteX247" fmla="*/ 1335495 w 11269336"/>
              <a:gd name="connsiteY247" fmla="*/ 2203940 h 2323145"/>
              <a:gd name="connsiteX248" fmla="*/ 1266687 w 11269336"/>
              <a:gd name="connsiteY248" fmla="*/ 2212688 h 2323145"/>
              <a:gd name="connsiteX249" fmla="*/ 1239614 w 11269336"/>
              <a:gd name="connsiteY249" fmla="*/ 2209727 h 2323145"/>
              <a:gd name="connsiteX250" fmla="*/ 1202436 w 11269336"/>
              <a:gd name="connsiteY250" fmla="*/ 2209817 h 2323145"/>
              <a:gd name="connsiteX251" fmla="*/ 1136097 w 11269336"/>
              <a:gd name="connsiteY251" fmla="*/ 2205112 h 2323145"/>
              <a:gd name="connsiteX252" fmla="*/ 1048229 w 11269336"/>
              <a:gd name="connsiteY252" fmla="*/ 2207249 h 2323145"/>
              <a:gd name="connsiteX253" fmla="*/ 988232 w 11269336"/>
              <a:gd name="connsiteY253" fmla="*/ 2235635 h 2323145"/>
              <a:gd name="connsiteX254" fmla="*/ 981959 w 11269336"/>
              <a:gd name="connsiteY254" fmla="*/ 2231607 h 2323145"/>
              <a:gd name="connsiteX255" fmla="*/ 938600 w 11269336"/>
              <a:gd name="connsiteY255" fmla="*/ 2238113 h 2323145"/>
              <a:gd name="connsiteX256" fmla="*/ 791788 w 11269336"/>
              <a:gd name="connsiteY256" fmla="*/ 2293224 h 2323145"/>
              <a:gd name="connsiteX257" fmla="*/ 706914 w 11269336"/>
              <a:gd name="connsiteY257" fmla="*/ 2305046 h 2323145"/>
              <a:gd name="connsiteX258" fmla="*/ 675971 w 11269336"/>
              <a:gd name="connsiteY258" fmla="*/ 2304030 h 2323145"/>
              <a:gd name="connsiteX259" fmla="*/ 624180 w 11269336"/>
              <a:gd name="connsiteY259" fmla="*/ 2302650 h 2323145"/>
              <a:gd name="connsiteX260" fmla="*/ 583453 w 11269336"/>
              <a:gd name="connsiteY260" fmla="*/ 2288788 h 2323145"/>
              <a:gd name="connsiteX261" fmla="*/ 540946 w 11269336"/>
              <a:gd name="connsiteY261" fmla="*/ 2292721 h 2323145"/>
              <a:gd name="connsiteX262" fmla="*/ 533680 w 11269336"/>
              <a:gd name="connsiteY262" fmla="*/ 2310233 h 2323145"/>
              <a:gd name="connsiteX263" fmla="*/ 487366 w 11269336"/>
              <a:gd name="connsiteY263" fmla="*/ 2309053 h 2323145"/>
              <a:gd name="connsiteX264" fmla="*/ 416820 w 11269336"/>
              <a:gd name="connsiteY264" fmla="*/ 2305443 h 2323145"/>
              <a:gd name="connsiteX265" fmla="*/ 376805 w 11269336"/>
              <a:gd name="connsiteY265" fmla="*/ 2307647 h 2323145"/>
              <a:gd name="connsiteX266" fmla="*/ 266777 w 11269336"/>
              <a:gd name="connsiteY266" fmla="*/ 2309012 h 2323145"/>
              <a:gd name="connsiteX267" fmla="*/ 156013 w 11269336"/>
              <a:gd name="connsiteY267" fmla="*/ 2306832 h 2323145"/>
              <a:gd name="connsiteX268" fmla="*/ 87258 w 11269336"/>
              <a:gd name="connsiteY268" fmla="*/ 2285511 h 2323145"/>
              <a:gd name="connsiteX269" fmla="*/ 23798 w 11269336"/>
              <a:gd name="connsiteY269" fmla="*/ 2281822 h 2323145"/>
              <a:gd name="connsiteX270" fmla="*/ 0 w 11269336"/>
              <a:gd name="connsiteY270" fmla="*/ 2285369 h 2323145"/>
              <a:gd name="connsiteX271" fmla="*/ 0 w 11269336"/>
              <a:gd name="connsiteY271"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41688 w 11269336"/>
              <a:gd name="connsiteY140" fmla="*/ 202233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365341 w 11269336"/>
              <a:gd name="connsiteY184" fmla="*/ 2077638 h 2323145"/>
              <a:gd name="connsiteX185" fmla="*/ 3170922 w 11269336"/>
              <a:gd name="connsiteY185" fmla="*/ 2115957 h 2323145"/>
              <a:gd name="connsiteX186" fmla="*/ 3156256 w 11269336"/>
              <a:gd name="connsiteY186" fmla="*/ 2124773 h 2323145"/>
              <a:gd name="connsiteX187" fmla="*/ 3140298 w 11269336"/>
              <a:gd name="connsiteY187" fmla="*/ 2129182 h 2323145"/>
              <a:gd name="connsiteX188" fmla="*/ 3138514 w 11269336"/>
              <a:gd name="connsiteY188" fmla="*/ 2128069 h 2323145"/>
              <a:gd name="connsiteX189" fmla="*/ 3120467 w 11269336"/>
              <a:gd name="connsiteY189" fmla="*/ 2128281 h 2323145"/>
              <a:gd name="connsiteX190" fmla="*/ 3116175 w 11269336"/>
              <a:gd name="connsiteY190" fmla="*/ 2131633 h 2323145"/>
              <a:gd name="connsiteX191" fmla="*/ 3103685 w 11269336"/>
              <a:gd name="connsiteY191" fmla="*/ 2132814 h 2323145"/>
              <a:gd name="connsiteX192" fmla="*/ 3078794 w 11269336"/>
              <a:gd name="connsiteY192" fmla="*/ 2137935 h 2323145"/>
              <a:gd name="connsiteX193" fmla="*/ 3074407 w 11269336"/>
              <a:gd name="connsiteY193" fmla="*/ 2136274 h 2323145"/>
              <a:gd name="connsiteX194" fmla="*/ 3037285 w 11269336"/>
              <a:gd name="connsiteY194" fmla="*/ 2139919 h 2323145"/>
              <a:gd name="connsiteX195" fmla="*/ 3036901 w 11269336"/>
              <a:gd name="connsiteY195" fmla="*/ 2138726 h 2323145"/>
              <a:gd name="connsiteX196" fmla="*/ 3026996 w 11269336"/>
              <a:gd name="connsiteY196" fmla="*/ 2134322 h 2323145"/>
              <a:gd name="connsiteX197" fmla="*/ 3007772 w 11269336"/>
              <a:gd name="connsiteY197" fmla="*/ 2128742 h 2323145"/>
              <a:gd name="connsiteX198" fmla="*/ 2965030 w 11269336"/>
              <a:gd name="connsiteY198" fmla="*/ 2100494 h 2323145"/>
              <a:gd name="connsiteX199" fmla="*/ 2926342 w 11269336"/>
              <a:gd name="connsiteY199" fmla="*/ 2104155 h 2323145"/>
              <a:gd name="connsiteX200" fmla="*/ 2918608 w 11269336"/>
              <a:gd name="connsiteY200" fmla="*/ 2104215 h 2323145"/>
              <a:gd name="connsiteX201" fmla="*/ 2918475 w 11269336"/>
              <a:gd name="connsiteY201" fmla="*/ 2103937 h 2323145"/>
              <a:gd name="connsiteX202" fmla="*/ 2910360 w 11269336"/>
              <a:gd name="connsiteY202" fmla="*/ 2103444 h 2323145"/>
              <a:gd name="connsiteX203" fmla="*/ 2904507 w 11269336"/>
              <a:gd name="connsiteY203" fmla="*/ 2104326 h 2323145"/>
              <a:gd name="connsiteX204" fmla="*/ 2889503 w 11269336"/>
              <a:gd name="connsiteY204" fmla="*/ 2104443 h 2323145"/>
              <a:gd name="connsiteX205" fmla="*/ 2884480 w 11269336"/>
              <a:gd name="connsiteY205" fmla="*/ 2102626 h 2323145"/>
              <a:gd name="connsiteX206" fmla="*/ 2882689 w 11269336"/>
              <a:gd name="connsiteY206" fmla="*/ 2099228 h 2323145"/>
              <a:gd name="connsiteX207" fmla="*/ 2881291 w 11269336"/>
              <a:gd name="connsiteY207" fmla="*/ 2099618 h 2323145"/>
              <a:gd name="connsiteX208" fmla="*/ 2853979 w 11269336"/>
              <a:gd name="connsiteY208" fmla="*/ 2090388 h 2323145"/>
              <a:gd name="connsiteX209" fmla="*/ 2791790 w 11269336"/>
              <a:gd name="connsiteY209" fmla="*/ 2080332 h 2323145"/>
              <a:gd name="connsiteX210" fmla="*/ 2755844 w 11269336"/>
              <a:gd name="connsiteY210" fmla="*/ 2078874 h 2323145"/>
              <a:gd name="connsiteX211" fmla="*/ 2657742 w 11269336"/>
              <a:gd name="connsiteY211" fmla="*/ 2070179 h 2323145"/>
              <a:gd name="connsiteX212" fmla="*/ 2559549 w 11269336"/>
              <a:gd name="connsiteY212" fmla="*/ 2057873 h 2323145"/>
              <a:gd name="connsiteX213" fmla="*/ 2512054 w 11269336"/>
              <a:gd name="connsiteY213" fmla="*/ 2031671 h 2323145"/>
              <a:gd name="connsiteX214" fmla="*/ 2506437 w 11269336"/>
              <a:gd name="connsiteY214" fmla="*/ 2030918 h 2323145"/>
              <a:gd name="connsiteX215" fmla="*/ 2491752 w 11269336"/>
              <a:gd name="connsiteY215" fmla="*/ 2033906 h 2323145"/>
              <a:gd name="connsiteX216" fmla="*/ 2486338 w 11269336"/>
              <a:gd name="connsiteY216" fmla="*/ 2035862 h 2323145"/>
              <a:gd name="connsiteX217" fmla="*/ 2478186 w 11269336"/>
              <a:gd name="connsiteY217" fmla="*/ 2036953 h 2323145"/>
              <a:gd name="connsiteX218" fmla="*/ 2477950 w 11269336"/>
              <a:gd name="connsiteY218" fmla="*/ 2036715 h 2323145"/>
              <a:gd name="connsiteX219" fmla="*/ 2470381 w 11269336"/>
              <a:gd name="connsiteY219" fmla="*/ 2038256 h 2323145"/>
              <a:gd name="connsiteX220" fmla="*/ 2433781 w 11269336"/>
              <a:gd name="connsiteY220" fmla="*/ 2049140 h 2323145"/>
              <a:gd name="connsiteX221" fmla="*/ 2381172 w 11269336"/>
              <a:gd name="connsiteY221" fmla="*/ 2030645 h 2323145"/>
              <a:gd name="connsiteX222" fmla="*/ 2360198 w 11269336"/>
              <a:gd name="connsiteY222" fmla="*/ 2029059 h 2323145"/>
              <a:gd name="connsiteX223" fmla="*/ 2348815 w 11269336"/>
              <a:gd name="connsiteY223" fmla="*/ 2026798 h 2323145"/>
              <a:gd name="connsiteX224" fmla="*/ 2347988 w 11269336"/>
              <a:gd name="connsiteY224" fmla="*/ 2025745 h 2323145"/>
              <a:gd name="connsiteX225" fmla="*/ 2312920 w 11269336"/>
              <a:gd name="connsiteY225" fmla="*/ 2036311 h 2323145"/>
              <a:gd name="connsiteX226" fmla="*/ 2307986 w 11269336"/>
              <a:gd name="connsiteY226" fmla="*/ 2035583 h 2323145"/>
              <a:gd name="connsiteX227" fmla="*/ 2285481 w 11269336"/>
              <a:gd name="connsiteY227" fmla="*/ 2045197 h 2323145"/>
              <a:gd name="connsiteX228" fmla="*/ 2273666 w 11269336"/>
              <a:gd name="connsiteY228" fmla="*/ 2048710 h 2323145"/>
              <a:gd name="connsiteX229" fmla="*/ 2270719 w 11269336"/>
              <a:gd name="connsiteY229" fmla="*/ 2052702 h 2323145"/>
              <a:gd name="connsiteX230" fmla="*/ 2253080 w 11269336"/>
              <a:gd name="connsiteY230" fmla="*/ 2056363 h 2323145"/>
              <a:gd name="connsiteX231" fmla="*/ 2250906 w 11269336"/>
              <a:gd name="connsiteY231" fmla="*/ 2055654 h 2323145"/>
              <a:gd name="connsiteX232" fmla="*/ 2236905 w 11269336"/>
              <a:gd name="connsiteY232" fmla="*/ 2062882 h 2323145"/>
              <a:gd name="connsiteX233" fmla="*/ 2225830 w 11269336"/>
              <a:gd name="connsiteY233" fmla="*/ 2074027 h 2323145"/>
              <a:gd name="connsiteX234" fmla="*/ 2073776 w 11269336"/>
              <a:gd name="connsiteY234" fmla="*/ 2089244 h 2323145"/>
              <a:gd name="connsiteX235" fmla="*/ 1948256 w 11269336"/>
              <a:gd name="connsiteY235" fmla="*/ 2146616 h 2323145"/>
              <a:gd name="connsiteX236" fmla="*/ 1865582 w 11269336"/>
              <a:gd name="connsiteY236" fmla="*/ 2153738 h 2323145"/>
              <a:gd name="connsiteX237" fmla="*/ 1835210 w 11269336"/>
              <a:gd name="connsiteY237" fmla="*/ 2134244 h 2323145"/>
              <a:gd name="connsiteX238" fmla="*/ 1632661 w 11269336"/>
              <a:gd name="connsiteY238" fmla="*/ 2173882 h 2323145"/>
              <a:gd name="connsiteX239" fmla="*/ 1579590 w 11269336"/>
              <a:gd name="connsiteY239" fmla="*/ 2173680 h 2323145"/>
              <a:gd name="connsiteX240" fmla="*/ 1535601 w 11269336"/>
              <a:gd name="connsiteY240" fmla="*/ 2194590 h 2323145"/>
              <a:gd name="connsiteX241" fmla="*/ 1515594 w 11269336"/>
              <a:gd name="connsiteY241" fmla="*/ 2189622 h 2323145"/>
              <a:gd name="connsiteX242" fmla="*/ 1512113 w 11269336"/>
              <a:gd name="connsiteY242" fmla="*/ 2188534 h 2323145"/>
              <a:gd name="connsiteX243" fmla="*/ 1498838 w 11269336"/>
              <a:gd name="connsiteY243" fmla="*/ 2189213 h 2323145"/>
              <a:gd name="connsiteX244" fmla="*/ 1494279 w 11269336"/>
              <a:gd name="connsiteY244" fmla="*/ 2183112 h 2323145"/>
              <a:gd name="connsiteX245" fmla="*/ 1473714 w 11269336"/>
              <a:gd name="connsiteY245" fmla="*/ 2179625 h 2323145"/>
              <a:gd name="connsiteX246" fmla="*/ 1449503 w 11269336"/>
              <a:gd name="connsiteY246" fmla="*/ 2182633 h 2323145"/>
              <a:gd name="connsiteX247" fmla="*/ 1335495 w 11269336"/>
              <a:gd name="connsiteY247" fmla="*/ 2203940 h 2323145"/>
              <a:gd name="connsiteX248" fmla="*/ 1266687 w 11269336"/>
              <a:gd name="connsiteY248" fmla="*/ 2212688 h 2323145"/>
              <a:gd name="connsiteX249" fmla="*/ 1239614 w 11269336"/>
              <a:gd name="connsiteY249" fmla="*/ 2209727 h 2323145"/>
              <a:gd name="connsiteX250" fmla="*/ 1202436 w 11269336"/>
              <a:gd name="connsiteY250" fmla="*/ 2209817 h 2323145"/>
              <a:gd name="connsiteX251" fmla="*/ 1136097 w 11269336"/>
              <a:gd name="connsiteY251" fmla="*/ 2205112 h 2323145"/>
              <a:gd name="connsiteX252" fmla="*/ 988232 w 11269336"/>
              <a:gd name="connsiteY252" fmla="*/ 2235635 h 2323145"/>
              <a:gd name="connsiteX253" fmla="*/ 981959 w 11269336"/>
              <a:gd name="connsiteY253" fmla="*/ 2231607 h 2323145"/>
              <a:gd name="connsiteX254" fmla="*/ 938600 w 11269336"/>
              <a:gd name="connsiteY254" fmla="*/ 2238113 h 2323145"/>
              <a:gd name="connsiteX255" fmla="*/ 791788 w 11269336"/>
              <a:gd name="connsiteY255" fmla="*/ 2293224 h 2323145"/>
              <a:gd name="connsiteX256" fmla="*/ 706914 w 11269336"/>
              <a:gd name="connsiteY256" fmla="*/ 2305046 h 2323145"/>
              <a:gd name="connsiteX257" fmla="*/ 675971 w 11269336"/>
              <a:gd name="connsiteY257" fmla="*/ 2304030 h 2323145"/>
              <a:gd name="connsiteX258" fmla="*/ 624180 w 11269336"/>
              <a:gd name="connsiteY258" fmla="*/ 2302650 h 2323145"/>
              <a:gd name="connsiteX259" fmla="*/ 583453 w 11269336"/>
              <a:gd name="connsiteY259" fmla="*/ 2288788 h 2323145"/>
              <a:gd name="connsiteX260" fmla="*/ 540946 w 11269336"/>
              <a:gd name="connsiteY260" fmla="*/ 2292721 h 2323145"/>
              <a:gd name="connsiteX261" fmla="*/ 533680 w 11269336"/>
              <a:gd name="connsiteY261" fmla="*/ 2310233 h 2323145"/>
              <a:gd name="connsiteX262" fmla="*/ 487366 w 11269336"/>
              <a:gd name="connsiteY262" fmla="*/ 2309053 h 2323145"/>
              <a:gd name="connsiteX263" fmla="*/ 416820 w 11269336"/>
              <a:gd name="connsiteY263" fmla="*/ 2305443 h 2323145"/>
              <a:gd name="connsiteX264" fmla="*/ 376805 w 11269336"/>
              <a:gd name="connsiteY264" fmla="*/ 2307647 h 2323145"/>
              <a:gd name="connsiteX265" fmla="*/ 266777 w 11269336"/>
              <a:gd name="connsiteY265" fmla="*/ 2309012 h 2323145"/>
              <a:gd name="connsiteX266" fmla="*/ 156013 w 11269336"/>
              <a:gd name="connsiteY266" fmla="*/ 2306832 h 2323145"/>
              <a:gd name="connsiteX267" fmla="*/ 87258 w 11269336"/>
              <a:gd name="connsiteY267" fmla="*/ 2285511 h 2323145"/>
              <a:gd name="connsiteX268" fmla="*/ 23798 w 11269336"/>
              <a:gd name="connsiteY268" fmla="*/ 2281822 h 2323145"/>
              <a:gd name="connsiteX269" fmla="*/ 0 w 11269336"/>
              <a:gd name="connsiteY269" fmla="*/ 2285369 h 2323145"/>
              <a:gd name="connsiteX270" fmla="*/ 0 w 11269336"/>
              <a:gd name="connsiteY270"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218531 w 11269336"/>
              <a:gd name="connsiteY54" fmla="*/ 1107622 h 2323145"/>
              <a:gd name="connsiteX55" fmla="*/ 8197391 w 11269336"/>
              <a:gd name="connsiteY55" fmla="*/ 1107746 h 2323145"/>
              <a:gd name="connsiteX56" fmla="*/ 8081474 w 11269336"/>
              <a:gd name="connsiteY56" fmla="*/ 1130125 h 2323145"/>
              <a:gd name="connsiteX57" fmla="*/ 8053585 w 11269336"/>
              <a:gd name="connsiteY57" fmla="*/ 1129169 h 2323145"/>
              <a:gd name="connsiteX58" fmla="*/ 8038422 w 11269336"/>
              <a:gd name="connsiteY58" fmla="*/ 1119092 h 2323145"/>
              <a:gd name="connsiteX59" fmla="*/ 8029450 w 11269336"/>
              <a:gd name="connsiteY59" fmla="*/ 1125592 h 2323145"/>
              <a:gd name="connsiteX60" fmla="*/ 7959552 w 11269336"/>
              <a:gd name="connsiteY60" fmla="*/ 1140188 h 2323145"/>
              <a:gd name="connsiteX61" fmla="*/ 7914188 w 11269336"/>
              <a:gd name="connsiteY61" fmla="*/ 1150862 h 2323145"/>
              <a:gd name="connsiteX62" fmla="*/ 7914918 w 11269336"/>
              <a:gd name="connsiteY62" fmla="*/ 1168758 h 2323145"/>
              <a:gd name="connsiteX63" fmla="*/ 7875510 w 11269336"/>
              <a:gd name="connsiteY63" fmla="*/ 1183153 h 2323145"/>
              <a:gd name="connsiteX64" fmla="*/ 7829932 w 11269336"/>
              <a:gd name="connsiteY64" fmla="*/ 1180782 h 2323145"/>
              <a:gd name="connsiteX65" fmla="*/ 7779182 w 11269336"/>
              <a:gd name="connsiteY65" fmla="*/ 1192665 h 2323145"/>
              <a:gd name="connsiteX66" fmla="*/ 7748774 w 11269336"/>
              <a:gd name="connsiteY66" fmla="*/ 1199586 h 2323145"/>
              <a:gd name="connsiteX67" fmla="*/ 7671846 w 11269336"/>
              <a:gd name="connsiteY67" fmla="*/ 1231966 h 2323145"/>
              <a:gd name="connsiteX68" fmla="*/ 7554146 w 11269336"/>
              <a:gd name="connsiteY68" fmla="*/ 1319748 h 2323145"/>
              <a:gd name="connsiteX69" fmla="*/ 7515052 w 11269336"/>
              <a:gd name="connsiteY69" fmla="*/ 1336718 h 2323145"/>
              <a:gd name="connsiteX70" fmla="*/ 7507193 w 11269336"/>
              <a:gd name="connsiteY70" fmla="*/ 1334617 h 2323145"/>
              <a:gd name="connsiteX71" fmla="*/ 7461694 w 11269336"/>
              <a:gd name="connsiteY71" fmla="*/ 1375866 h 2323145"/>
              <a:gd name="connsiteX72" fmla="*/ 7377571 w 11269336"/>
              <a:gd name="connsiteY72" fmla="*/ 1400128 h 2323145"/>
              <a:gd name="connsiteX73" fmla="*/ 7311261 w 11269336"/>
              <a:gd name="connsiteY73" fmla="*/ 1412652 h 2323145"/>
              <a:gd name="connsiteX74" fmla="*/ 7275307 w 11269336"/>
              <a:gd name="connsiteY74" fmla="*/ 1422171 h 2323145"/>
              <a:gd name="connsiteX75" fmla="*/ 7247783 w 11269336"/>
              <a:gd name="connsiteY75" fmla="*/ 1426330 h 2323145"/>
              <a:gd name="connsiteX76" fmla="*/ 7185047 w 11269336"/>
              <a:gd name="connsiteY76" fmla="*/ 1451812 h 2323145"/>
              <a:gd name="connsiteX77" fmla="*/ 7084117 w 11269336"/>
              <a:gd name="connsiteY77" fmla="*/ 1500281 h 2323145"/>
              <a:gd name="connsiteX78" fmla="*/ 7062011 w 11269336"/>
              <a:gd name="connsiteY78" fmla="*/ 1509183 h 2323145"/>
              <a:gd name="connsiteX79" fmla="*/ 7040555 w 11269336"/>
              <a:gd name="connsiteY79" fmla="*/ 1511207 h 2323145"/>
              <a:gd name="connsiteX80" fmla="*/ 7033438 w 11269336"/>
              <a:gd name="connsiteY80" fmla="*/ 1506772 h 2323145"/>
              <a:gd name="connsiteX81" fmla="*/ 7020886 w 11269336"/>
              <a:gd name="connsiteY81" fmla="*/ 1510764 h 2323145"/>
              <a:gd name="connsiteX82" fmla="*/ 7017033 w 11269336"/>
              <a:gd name="connsiteY82" fmla="*/ 1510650 h 2323145"/>
              <a:gd name="connsiteX83" fmla="*/ 6995460 w 11269336"/>
              <a:gd name="connsiteY83" fmla="*/ 1511173 h 2323145"/>
              <a:gd name="connsiteX84" fmla="*/ 6962144 w 11269336"/>
              <a:gd name="connsiteY84" fmla="*/ 1541508 h 2323145"/>
              <a:gd name="connsiteX85" fmla="*/ 6910674 w 11269336"/>
              <a:gd name="connsiteY85" fmla="*/ 1554793 h 2323145"/>
              <a:gd name="connsiteX86" fmla="*/ 6732152 w 11269336"/>
              <a:gd name="connsiteY86" fmla="*/ 1642538 h 2323145"/>
              <a:gd name="connsiteX87" fmla="*/ 6694106 w 11269336"/>
              <a:gd name="connsiteY87" fmla="*/ 1632377 h 2323145"/>
              <a:gd name="connsiteX88" fmla="*/ 6617223 w 11269336"/>
              <a:gd name="connsiteY88" fmla="*/ 1659889 h 2323145"/>
              <a:gd name="connsiteX89" fmla="*/ 6521138 w 11269336"/>
              <a:gd name="connsiteY89" fmla="*/ 1744340 h 2323145"/>
              <a:gd name="connsiteX90" fmla="*/ 6380677 w 11269336"/>
              <a:gd name="connsiteY90" fmla="*/ 1796883 h 2323145"/>
              <a:gd name="connsiteX91" fmla="*/ 6374897 w 11269336"/>
              <a:gd name="connsiteY91" fmla="*/ 1809910 h 2323145"/>
              <a:gd name="connsiteX92" fmla="*/ 6364545 w 11269336"/>
              <a:gd name="connsiteY92" fmla="*/ 1820090 h 2323145"/>
              <a:gd name="connsiteX93" fmla="*/ 6362126 w 11269336"/>
              <a:gd name="connsiteY93" fmla="*/ 1819991 h 2323145"/>
              <a:gd name="connsiteX94" fmla="*/ 6346673 w 11269336"/>
              <a:gd name="connsiteY94" fmla="*/ 1827824 h 2323145"/>
              <a:gd name="connsiteX95" fmla="*/ 6345588 w 11269336"/>
              <a:gd name="connsiteY95" fmla="*/ 1832232 h 2323145"/>
              <a:gd name="connsiteX96" fmla="*/ 6335708 w 11269336"/>
              <a:gd name="connsiteY96" fmla="*/ 1838451 h 2323145"/>
              <a:gd name="connsiteX97" fmla="*/ 6318182 w 11269336"/>
              <a:gd name="connsiteY97" fmla="*/ 1852975 h 2323145"/>
              <a:gd name="connsiteX98" fmla="*/ 6313084 w 11269336"/>
              <a:gd name="connsiteY98" fmla="*/ 1853561 h 2323145"/>
              <a:gd name="connsiteX99" fmla="*/ 6283816 w 11269336"/>
              <a:gd name="connsiteY99" fmla="*/ 1872148 h 2323145"/>
              <a:gd name="connsiteX100" fmla="*/ 6282550 w 11269336"/>
              <a:gd name="connsiteY100" fmla="*/ 1871392 h 2323145"/>
              <a:gd name="connsiteX101" fmla="*/ 6270527 w 11269336"/>
              <a:gd name="connsiteY101" fmla="*/ 1872208 h 2323145"/>
              <a:gd name="connsiteX102" fmla="*/ 6249518 w 11269336"/>
              <a:gd name="connsiteY102" fmla="*/ 1876079 h 2323145"/>
              <a:gd name="connsiteX103" fmla="*/ 6190386 w 11269336"/>
              <a:gd name="connsiteY103" fmla="*/ 1872478 h 2323145"/>
              <a:gd name="connsiteX104" fmla="*/ 6159777 w 11269336"/>
              <a:gd name="connsiteY104" fmla="*/ 1891745 h 2323145"/>
              <a:gd name="connsiteX105" fmla="*/ 6153131 w 11269336"/>
              <a:gd name="connsiteY105" fmla="*/ 1895079 h 2323145"/>
              <a:gd name="connsiteX106" fmla="*/ 6152798 w 11269336"/>
              <a:gd name="connsiteY106" fmla="*/ 1894920 h 2323145"/>
              <a:gd name="connsiteX107" fmla="*/ 6145388 w 11269336"/>
              <a:gd name="connsiteY107" fmla="*/ 1897990 h 2323145"/>
              <a:gd name="connsiteX108" fmla="*/ 6141014 w 11269336"/>
              <a:gd name="connsiteY108" fmla="*/ 1901155 h 2323145"/>
              <a:gd name="connsiteX109" fmla="*/ 6128122 w 11269336"/>
              <a:gd name="connsiteY109" fmla="*/ 1907623 h 2323145"/>
              <a:gd name="connsiteX110" fmla="*/ 6122351 w 11269336"/>
              <a:gd name="connsiteY110" fmla="*/ 1908359 h 2323145"/>
              <a:gd name="connsiteX111" fmla="*/ 6064750 w 11269336"/>
              <a:gd name="connsiteY111" fmla="*/ 1896394 h 2323145"/>
              <a:gd name="connsiteX112" fmla="*/ 5964230 w 11269336"/>
              <a:gd name="connsiteY112" fmla="*/ 1910038 h 2323145"/>
              <a:gd name="connsiteX113" fmla="*/ 5865399 w 11269336"/>
              <a:gd name="connsiteY113" fmla="*/ 1926966 h 2323145"/>
              <a:gd name="connsiteX114" fmla="*/ 5829951 w 11269336"/>
              <a:gd name="connsiteY114" fmla="*/ 1934755 h 2323145"/>
              <a:gd name="connsiteX115" fmla="*/ 5765285 w 11269336"/>
              <a:gd name="connsiteY115" fmla="*/ 1941322 h 2323145"/>
              <a:gd name="connsiteX116" fmla="*/ 5734750 w 11269336"/>
              <a:gd name="connsiteY116" fmla="*/ 1939793 h 2323145"/>
              <a:gd name="connsiteX117" fmla="*/ 5733569 w 11269336"/>
              <a:gd name="connsiteY117" fmla="*/ 1940505 h 2323145"/>
              <a:gd name="connsiteX118" fmla="*/ 5730329 w 11269336"/>
              <a:gd name="connsiteY118" fmla="*/ 1937845 h 2323145"/>
              <a:gd name="connsiteX119" fmla="*/ 5724661 w 11269336"/>
              <a:gd name="connsiteY119" fmla="*/ 1937455 h 2323145"/>
              <a:gd name="connsiteX120" fmla="*/ 5710186 w 11269336"/>
              <a:gd name="connsiteY120" fmla="*/ 1941370 h 2323145"/>
              <a:gd name="connsiteX121" fmla="*/ 5704910 w 11269336"/>
              <a:gd name="connsiteY121" fmla="*/ 1943663 h 2323145"/>
              <a:gd name="connsiteX122" fmla="*/ 5696836 w 11269336"/>
              <a:gd name="connsiteY122" fmla="*/ 1945271 h 2323145"/>
              <a:gd name="connsiteX123" fmla="*/ 5696583 w 11269336"/>
              <a:gd name="connsiteY123" fmla="*/ 1945050 h 2323145"/>
              <a:gd name="connsiteX124" fmla="*/ 5689123 w 11269336"/>
              <a:gd name="connsiteY124" fmla="*/ 1947067 h 2323145"/>
              <a:gd name="connsiteX125" fmla="*/ 5653291 w 11269336"/>
              <a:gd name="connsiteY125" fmla="*/ 1960245 h 2323145"/>
              <a:gd name="connsiteX126" fmla="*/ 5599385 w 11269336"/>
              <a:gd name="connsiteY126" fmla="*/ 1945198 h 2323145"/>
              <a:gd name="connsiteX127" fmla="*/ 5578300 w 11269336"/>
              <a:gd name="connsiteY127" fmla="*/ 1944963 h 2323145"/>
              <a:gd name="connsiteX128" fmla="*/ 5566758 w 11269336"/>
              <a:gd name="connsiteY128" fmla="*/ 1943441 h 2323145"/>
              <a:gd name="connsiteX129" fmla="*/ 5565857 w 11269336"/>
              <a:gd name="connsiteY129" fmla="*/ 1942445 h 2323145"/>
              <a:gd name="connsiteX130" fmla="*/ 5531534 w 11269336"/>
              <a:gd name="connsiteY130" fmla="*/ 1955208 h 2323145"/>
              <a:gd name="connsiteX131" fmla="*/ 5526552 w 11269336"/>
              <a:gd name="connsiteY131" fmla="*/ 1954799 h 2323145"/>
              <a:gd name="connsiteX132" fmla="*/ 5504723 w 11269336"/>
              <a:gd name="connsiteY132" fmla="*/ 1965811 h 2323145"/>
              <a:gd name="connsiteX133" fmla="*/ 5493156 w 11269336"/>
              <a:gd name="connsiteY133" fmla="*/ 1970063 h 2323145"/>
              <a:gd name="connsiteX134" fmla="*/ 5490486 w 11269336"/>
              <a:gd name="connsiteY134" fmla="*/ 1974227 h 2323145"/>
              <a:gd name="connsiteX135" fmla="*/ 5473107 w 11269336"/>
              <a:gd name="connsiteY135" fmla="*/ 1979001 h 2323145"/>
              <a:gd name="connsiteX136" fmla="*/ 5470885 w 11269336"/>
              <a:gd name="connsiteY136" fmla="*/ 1978432 h 2323145"/>
              <a:gd name="connsiteX137" fmla="*/ 5457393 w 11269336"/>
              <a:gd name="connsiteY137" fmla="*/ 1986525 h 2323145"/>
              <a:gd name="connsiteX138" fmla="*/ 5447102 w 11269336"/>
              <a:gd name="connsiteY138" fmla="*/ 1998329 h 2323145"/>
              <a:gd name="connsiteX139" fmla="*/ 5159151 w 11269336"/>
              <a:gd name="connsiteY139" fmla="*/ 2029640 h 2323145"/>
              <a:gd name="connsiteX140" fmla="*/ 5041688 w 11269336"/>
              <a:gd name="connsiteY140" fmla="*/ 2022334 h 2323145"/>
              <a:gd name="connsiteX141" fmla="*/ 4860988 w 11269336"/>
              <a:gd name="connsiteY141" fmla="*/ 2135698 h 2323145"/>
              <a:gd name="connsiteX142" fmla="*/ 4807902 w 11269336"/>
              <a:gd name="connsiteY142" fmla="*/ 2138894 h 2323145"/>
              <a:gd name="connsiteX143" fmla="*/ 4765388 w 11269336"/>
              <a:gd name="connsiteY143" fmla="*/ 2162525 h 2323145"/>
              <a:gd name="connsiteX144" fmla="*/ 4745033 w 11269336"/>
              <a:gd name="connsiteY144" fmla="*/ 2158859 h 2323145"/>
              <a:gd name="connsiteX145" fmla="*/ 4741475 w 11269336"/>
              <a:gd name="connsiteY145" fmla="*/ 2157998 h 2323145"/>
              <a:gd name="connsiteX146" fmla="*/ 4728247 w 11269336"/>
              <a:gd name="connsiteY146" fmla="*/ 2159526 h 2323145"/>
              <a:gd name="connsiteX147" fmla="*/ 4723263 w 11269336"/>
              <a:gd name="connsiteY147" fmla="*/ 2153742 h 2323145"/>
              <a:gd name="connsiteX148" fmla="*/ 4702453 w 11269336"/>
              <a:gd name="connsiteY148" fmla="*/ 2151586 h 2323145"/>
              <a:gd name="connsiteX149" fmla="*/ 4678455 w 11269336"/>
              <a:gd name="connsiteY149" fmla="*/ 2156131 h 2323145"/>
              <a:gd name="connsiteX150" fmla="*/ 4593061 w 11269336"/>
              <a:gd name="connsiteY150" fmla="*/ 2171597 h 2323145"/>
              <a:gd name="connsiteX151" fmla="*/ 4579902 w 11269336"/>
              <a:gd name="connsiteY151" fmla="*/ 2177927 h 2323145"/>
              <a:gd name="connsiteX152" fmla="*/ 4533444 w 11269336"/>
              <a:gd name="connsiteY152" fmla="*/ 2181200 h 2323145"/>
              <a:gd name="connsiteX153" fmla="*/ 4492832 w 11269336"/>
              <a:gd name="connsiteY153" fmla="*/ 2188033 h 2323145"/>
              <a:gd name="connsiteX154" fmla="*/ 4467257 w 11269336"/>
              <a:gd name="connsiteY154" fmla="*/ 2196121 h 2323145"/>
              <a:gd name="connsiteX155" fmla="*/ 4459937 w 11269336"/>
              <a:gd name="connsiteY155" fmla="*/ 2195182 h 2323145"/>
              <a:gd name="connsiteX156" fmla="*/ 4433312 w 11269336"/>
              <a:gd name="connsiteY156" fmla="*/ 2199004 h 2323145"/>
              <a:gd name="connsiteX157" fmla="*/ 4420601 w 11269336"/>
              <a:gd name="connsiteY157" fmla="*/ 2205158 h 2323145"/>
              <a:gd name="connsiteX158" fmla="*/ 4405765 w 11269336"/>
              <a:gd name="connsiteY158" fmla="*/ 2199902 h 2323145"/>
              <a:gd name="connsiteX159" fmla="*/ 4401354 w 11269336"/>
              <a:gd name="connsiteY159" fmla="*/ 2194745 h 2323145"/>
              <a:gd name="connsiteX160" fmla="*/ 4383151 w 11269336"/>
              <a:gd name="connsiteY160" fmla="*/ 2201140 h 2323145"/>
              <a:gd name="connsiteX161" fmla="*/ 4366646 w 11269336"/>
              <a:gd name="connsiteY161" fmla="*/ 2198564 h 2323145"/>
              <a:gd name="connsiteX162" fmla="*/ 4354009 w 11269336"/>
              <a:gd name="connsiteY162" fmla="*/ 2204984 h 2323145"/>
              <a:gd name="connsiteX163" fmla="*/ 4348284 w 11269336"/>
              <a:gd name="connsiteY163" fmla="*/ 2205270 h 2323145"/>
              <a:gd name="connsiteX164" fmla="*/ 4333906 w 11269336"/>
              <a:gd name="connsiteY164" fmla="*/ 2205251 h 2323145"/>
              <a:gd name="connsiteX165" fmla="*/ 4308819 w 11269336"/>
              <a:gd name="connsiteY165" fmla="*/ 2203822 h 2323145"/>
              <a:gd name="connsiteX166" fmla="*/ 4301210 w 11269336"/>
              <a:gd name="connsiteY166" fmla="*/ 2204456 h 2323145"/>
              <a:gd name="connsiteX167" fmla="*/ 4283095 w 11269336"/>
              <a:gd name="connsiteY167" fmla="*/ 2198177 h 2323145"/>
              <a:gd name="connsiteX168" fmla="*/ 4250119 w 11269336"/>
              <a:gd name="connsiteY168" fmla="*/ 2196342 h 2323145"/>
              <a:gd name="connsiteX169" fmla="*/ 4189203 w 11269336"/>
              <a:gd name="connsiteY169" fmla="*/ 2178994 h 2323145"/>
              <a:gd name="connsiteX170" fmla="*/ 4154035 w 11269336"/>
              <a:gd name="connsiteY170" fmla="*/ 2171950 h 2323145"/>
              <a:gd name="connsiteX171" fmla="*/ 4129569 w 11269336"/>
              <a:gd name="connsiteY171" fmla="*/ 2163850 h 2323145"/>
              <a:gd name="connsiteX172" fmla="*/ 4061250 w 11269336"/>
              <a:gd name="connsiteY172" fmla="*/ 2159236 h 2323145"/>
              <a:gd name="connsiteX173" fmla="*/ 3945480 w 11269336"/>
              <a:gd name="connsiteY173" fmla="*/ 2158279 h 2323145"/>
              <a:gd name="connsiteX174" fmla="*/ 3921468 w 11269336"/>
              <a:gd name="connsiteY174" fmla="*/ 2156588 h 2323145"/>
              <a:gd name="connsiteX175" fmla="*/ 3903348 w 11269336"/>
              <a:gd name="connsiteY175" fmla="*/ 2149220 h 2323145"/>
              <a:gd name="connsiteX176" fmla="*/ 3901342 w 11269336"/>
              <a:gd name="connsiteY176" fmla="*/ 2142355 h 2323145"/>
              <a:gd name="connsiteX177" fmla="*/ 3888539 w 11269336"/>
              <a:gd name="connsiteY177" fmla="*/ 2140476 h 2323145"/>
              <a:gd name="connsiteX178" fmla="*/ 3885662 w 11269336"/>
              <a:gd name="connsiteY178" fmla="*/ 2138740 h 2323145"/>
              <a:gd name="connsiteX179" fmla="*/ 3868627 w 11269336"/>
              <a:gd name="connsiteY179" fmla="*/ 2130023 h 2323145"/>
              <a:gd name="connsiteX180" fmla="*/ 3819177 w 11269336"/>
              <a:gd name="connsiteY180" fmla="*/ 2142111 h 2323145"/>
              <a:gd name="connsiteX181" fmla="*/ 3769100 w 11269336"/>
              <a:gd name="connsiteY181" fmla="*/ 2131731 h 2323145"/>
              <a:gd name="connsiteX182" fmla="*/ 3562752 w 11269336"/>
              <a:gd name="connsiteY182" fmla="*/ 2131785 h 2323145"/>
              <a:gd name="connsiteX183" fmla="*/ 3541402 w 11269336"/>
              <a:gd name="connsiteY183" fmla="*/ 2106821 h 2323145"/>
              <a:gd name="connsiteX184" fmla="*/ 3365341 w 11269336"/>
              <a:gd name="connsiteY184" fmla="*/ 2077638 h 2323145"/>
              <a:gd name="connsiteX185" fmla="*/ 3170922 w 11269336"/>
              <a:gd name="connsiteY185" fmla="*/ 2115957 h 2323145"/>
              <a:gd name="connsiteX186" fmla="*/ 3156256 w 11269336"/>
              <a:gd name="connsiteY186" fmla="*/ 2124773 h 2323145"/>
              <a:gd name="connsiteX187" fmla="*/ 3140298 w 11269336"/>
              <a:gd name="connsiteY187" fmla="*/ 2129182 h 2323145"/>
              <a:gd name="connsiteX188" fmla="*/ 3138514 w 11269336"/>
              <a:gd name="connsiteY188" fmla="*/ 2128069 h 2323145"/>
              <a:gd name="connsiteX189" fmla="*/ 3120467 w 11269336"/>
              <a:gd name="connsiteY189" fmla="*/ 2128281 h 2323145"/>
              <a:gd name="connsiteX190" fmla="*/ 3116175 w 11269336"/>
              <a:gd name="connsiteY190" fmla="*/ 2131633 h 2323145"/>
              <a:gd name="connsiteX191" fmla="*/ 3103685 w 11269336"/>
              <a:gd name="connsiteY191" fmla="*/ 2132814 h 2323145"/>
              <a:gd name="connsiteX192" fmla="*/ 3078794 w 11269336"/>
              <a:gd name="connsiteY192" fmla="*/ 2137935 h 2323145"/>
              <a:gd name="connsiteX193" fmla="*/ 3074407 w 11269336"/>
              <a:gd name="connsiteY193" fmla="*/ 2136274 h 2323145"/>
              <a:gd name="connsiteX194" fmla="*/ 3037285 w 11269336"/>
              <a:gd name="connsiteY194" fmla="*/ 2139919 h 2323145"/>
              <a:gd name="connsiteX195" fmla="*/ 3036901 w 11269336"/>
              <a:gd name="connsiteY195" fmla="*/ 2138726 h 2323145"/>
              <a:gd name="connsiteX196" fmla="*/ 3026996 w 11269336"/>
              <a:gd name="connsiteY196" fmla="*/ 2134322 h 2323145"/>
              <a:gd name="connsiteX197" fmla="*/ 3007772 w 11269336"/>
              <a:gd name="connsiteY197" fmla="*/ 2128742 h 2323145"/>
              <a:gd name="connsiteX198" fmla="*/ 2965030 w 11269336"/>
              <a:gd name="connsiteY198" fmla="*/ 2100494 h 2323145"/>
              <a:gd name="connsiteX199" fmla="*/ 2926342 w 11269336"/>
              <a:gd name="connsiteY199" fmla="*/ 2104155 h 2323145"/>
              <a:gd name="connsiteX200" fmla="*/ 2918608 w 11269336"/>
              <a:gd name="connsiteY200" fmla="*/ 2104215 h 2323145"/>
              <a:gd name="connsiteX201" fmla="*/ 2918475 w 11269336"/>
              <a:gd name="connsiteY201" fmla="*/ 2103937 h 2323145"/>
              <a:gd name="connsiteX202" fmla="*/ 2910360 w 11269336"/>
              <a:gd name="connsiteY202" fmla="*/ 2103444 h 2323145"/>
              <a:gd name="connsiteX203" fmla="*/ 2904507 w 11269336"/>
              <a:gd name="connsiteY203" fmla="*/ 2104326 h 2323145"/>
              <a:gd name="connsiteX204" fmla="*/ 2889503 w 11269336"/>
              <a:gd name="connsiteY204" fmla="*/ 2104443 h 2323145"/>
              <a:gd name="connsiteX205" fmla="*/ 2884480 w 11269336"/>
              <a:gd name="connsiteY205" fmla="*/ 2102626 h 2323145"/>
              <a:gd name="connsiteX206" fmla="*/ 2882689 w 11269336"/>
              <a:gd name="connsiteY206" fmla="*/ 2099228 h 2323145"/>
              <a:gd name="connsiteX207" fmla="*/ 2881291 w 11269336"/>
              <a:gd name="connsiteY207" fmla="*/ 2099618 h 2323145"/>
              <a:gd name="connsiteX208" fmla="*/ 2853979 w 11269336"/>
              <a:gd name="connsiteY208" fmla="*/ 2090388 h 2323145"/>
              <a:gd name="connsiteX209" fmla="*/ 2791790 w 11269336"/>
              <a:gd name="connsiteY209" fmla="*/ 2080332 h 2323145"/>
              <a:gd name="connsiteX210" fmla="*/ 2755844 w 11269336"/>
              <a:gd name="connsiteY210" fmla="*/ 2078874 h 2323145"/>
              <a:gd name="connsiteX211" fmla="*/ 2657742 w 11269336"/>
              <a:gd name="connsiteY211" fmla="*/ 2070179 h 2323145"/>
              <a:gd name="connsiteX212" fmla="*/ 2559549 w 11269336"/>
              <a:gd name="connsiteY212" fmla="*/ 2057873 h 2323145"/>
              <a:gd name="connsiteX213" fmla="*/ 2512054 w 11269336"/>
              <a:gd name="connsiteY213" fmla="*/ 2031671 h 2323145"/>
              <a:gd name="connsiteX214" fmla="*/ 2506437 w 11269336"/>
              <a:gd name="connsiteY214" fmla="*/ 2030918 h 2323145"/>
              <a:gd name="connsiteX215" fmla="*/ 2491752 w 11269336"/>
              <a:gd name="connsiteY215" fmla="*/ 2033906 h 2323145"/>
              <a:gd name="connsiteX216" fmla="*/ 2486338 w 11269336"/>
              <a:gd name="connsiteY216" fmla="*/ 2035862 h 2323145"/>
              <a:gd name="connsiteX217" fmla="*/ 2478186 w 11269336"/>
              <a:gd name="connsiteY217" fmla="*/ 2036953 h 2323145"/>
              <a:gd name="connsiteX218" fmla="*/ 2477950 w 11269336"/>
              <a:gd name="connsiteY218" fmla="*/ 2036715 h 2323145"/>
              <a:gd name="connsiteX219" fmla="*/ 2470381 w 11269336"/>
              <a:gd name="connsiteY219" fmla="*/ 2038256 h 2323145"/>
              <a:gd name="connsiteX220" fmla="*/ 2433781 w 11269336"/>
              <a:gd name="connsiteY220" fmla="*/ 2049140 h 2323145"/>
              <a:gd name="connsiteX221" fmla="*/ 2381172 w 11269336"/>
              <a:gd name="connsiteY221" fmla="*/ 2030645 h 2323145"/>
              <a:gd name="connsiteX222" fmla="*/ 2360198 w 11269336"/>
              <a:gd name="connsiteY222" fmla="*/ 2029059 h 2323145"/>
              <a:gd name="connsiteX223" fmla="*/ 2348815 w 11269336"/>
              <a:gd name="connsiteY223" fmla="*/ 2026798 h 2323145"/>
              <a:gd name="connsiteX224" fmla="*/ 2347988 w 11269336"/>
              <a:gd name="connsiteY224" fmla="*/ 2025745 h 2323145"/>
              <a:gd name="connsiteX225" fmla="*/ 2312920 w 11269336"/>
              <a:gd name="connsiteY225" fmla="*/ 2036311 h 2323145"/>
              <a:gd name="connsiteX226" fmla="*/ 2307986 w 11269336"/>
              <a:gd name="connsiteY226" fmla="*/ 2035583 h 2323145"/>
              <a:gd name="connsiteX227" fmla="*/ 2285481 w 11269336"/>
              <a:gd name="connsiteY227" fmla="*/ 2045197 h 2323145"/>
              <a:gd name="connsiteX228" fmla="*/ 2273666 w 11269336"/>
              <a:gd name="connsiteY228" fmla="*/ 2048710 h 2323145"/>
              <a:gd name="connsiteX229" fmla="*/ 2270719 w 11269336"/>
              <a:gd name="connsiteY229" fmla="*/ 2052702 h 2323145"/>
              <a:gd name="connsiteX230" fmla="*/ 2253080 w 11269336"/>
              <a:gd name="connsiteY230" fmla="*/ 2056363 h 2323145"/>
              <a:gd name="connsiteX231" fmla="*/ 2250906 w 11269336"/>
              <a:gd name="connsiteY231" fmla="*/ 2055654 h 2323145"/>
              <a:gd name="connsiteX232" fmla="*/ 2236905 w 11269336"/>
              <a:gd name="connsiteY232" fmla="*/ 2062882 h 2323145"/>
              <a:gd name="connsiteX233" fmla="*/ 2225830 w 11269336"/>
              <a:gd name="connsiteY233" fmla="*/ 2074027 h 2323145"/>
              <a:gd name="connsiteX234" fmla="*/ 2073776 w 11269336"/>
              <a:gd name="connsiteY234" fmla="*/ 2089244 h 2323145"/>
              <a:gd name="connsiteX235" fmla="*/ 1948256 w 11269336"/>
              <a:gd name="connsiteY235" fmla="*/ 2146616 h 2323145"/>
              <a:gd name="connsiteX236" fmla="*/ 1865582 w 11269336"/>
              <a:gd name="connsiteY236" fmla="*/ 2153738 h 2323145"/>
              <a:gd name="connsiteX237" fmla="*/ 1835210 w 11269336"/>
              <a:gd name="connsiteY237" fmla="*/ 2134244 h 2323145"/>
              <a:gd name="connsiteX238" fmla="*/ 1632661 w 11269336"/>
              <a:gd name="connsiteY238" fmla="*/ 2173882 h 2323145"/>
              <a:gd name="connsiteX239" fmla="*/ 1579590 w 11269336"/>
              <a:gd name="connsiteY239" fmla="*/ 2173680 h 2323145"/>
              <a:gd name="connsiteX240" fmla="*/ 1535601 w 11269336"/>
              <a:gd name="connsiteY240" fmla="*/ 2194590 h 2323145"/>
              <a:gd name="connsiteX241" fmla="*/ 1515594 w 11269336"/>
              <a:gd name="connsiteY241" fmla="*/ 2189622 h 2323145"/>
              <a:gd name="connsiteX242" fmla="*/ 1512113 w 11269336"/>
              <a:gd name="connsiteY242" fmla="*/ 2188534 h 2323145"/>
              <a:gd name="connsiteX243" fmla="*/ 1498838 w 11269336"/>
              <a:gd name="connsiteY243" fmla="*/ 2189213 h 2323145"/>
              <a:gd name="connsiteX244" fmla="*/ 1494279 w 11269336"/>
              <a:gd name="connsiteY244" fmla="*/ 2183112 h 2323145"/>
              <a:gd name="connsiteX245" fmla="*/ 1473714 w 11269336"/>
              <a:gd name="connsiteY245" fmla="*/ 2179625 h 2323145"/>
              <a:gd name="connsiteX246" fmla="*/ 1449503 w 11269336"/>
              <a:gd name="connsiteY246" fmla="*/ 2182633 h 2323145"/>
              <a:gd name="connsiteX247" fmla="*/ 1266687 w 11269336"/>
              <a:gd name="connsiteY247" fmla="*/ 2212688 h 2323145"/>
              <a:gd name="connsiteX248" fmla="*/ 1239614 w 11269336"/>
              <a:gd name="connsiteY248" fmla="*/ 2209727 h 2323145"/>
              <a:gd name="connsiteX249" fmla="*/ 1202436 w 11269336"/>
              <a:gd name="connsiteY249" fmla="*/ 2209817 h 2323145"/>
              <a:gd name="connsiteX250" fmla="*/ 1136097 w 11269336"/>
              <a:gd name="connsiteY250" fmla="*/ 2205112 h 2323145"/>
              <a:gd name="connsiteX251" fmla="*/ 988232 w 11269336"/>
              <a:gd name="connsiteY251" fmla="*/ 2235635 h 2323145"/>
              <a:gd name="connsiteX252" fmla="*/ 981959 w 11269336"/>
              <a:gd name="connsiteY252" fmla="*/ 2231607 h 2323145"/>
              <a:gd name="connsiteX253" fmla="*/ 938600 w 11269336"/>
              <a:gd name="connsiteY253" fmla="*/ 2238113 h 2323145"/>
              <a:gd name="connsiteX254" fmla="*/ 791788 w 11269336"/>
              <a:gd name="connsiteY254" fmla="*/ 2293224 h 2323145"/>
              <a:gd name="connsiteX255" fmla="*/ 706914 w 11269336"/>
              <a:gd name="connsiteY255" fmla="*/ 2305046 h 2323145"/>
              <a:gd name="connsiteX256" fmla="*/ 675971 w 11269336"/>
              <a:gd name="connsiteY256" fmla="*/ 2304030 h 2323145"/>
              <a:gd name="connsiteX257" fmla="*/ 624180 w 11269336"/>
              <a:gd name="connsiteY257" fmla="*/ 2302650 h 2323145"/>
              <a:gd name="connsiteX258" fmla="*/ 583453 w 11269336"/>
              <a:gd name="connsiteY258" fmla="*/ 2288788 h 2323145"/>
              <a:gd name="connsiteX259" fmla="*/ 540946 w 11269336"/>
              <a:gd name="connsiteY259" fmla="*/ 2292721 h 2323145"/>
              <a:gd name="connsiteX260" fmla="*/ 533680 w 11269336"/>
              <a:gd name="connsiteY260" fmla="*/ 2310233 h 2323145"/>
              <a:gd name="connsiteX261" fmla="*/ 487366 w 11269336"/>
              <a:gd name="connsiteY261" fmla="*/ 2309053 h 2323145"/>
              <a:gd name="connsiteX262" fmla="*/ 416820 w 11269336"/>
              <a:gd name="connsiteY262" fmla="*/ 2305443 h 2323145"/>
              <a:gd name="connsiteX263" fmla="*/ 376805 w 11269336"/>
              <a:gd name="connsiteY263" fmla="*/ 2307647 h 2323145"/>
              <a:gd name="connsiteX264" fmla="*/ 266777 w 11269336"/>
              <a:gd name="connsiteY264" fmla="*/ 2309012 h 2323145"/>
              <a:gd name="connsiteX265" fmla="*/ 156013 w 11269336"/>
              <a:gd name="connsiteY265" fmla="*/ 2306832 h 2323145"/>
              <a:gd name="connsiteX266" fmla="*/ 87258 w 11269336"/>
              <a:gd name="connsiteY266" fmla="*/ 2285511 h 2323145"/>
              <a:gd name="connsiteX267" fmla="*/ 23798 w 11269336"/>
              <a:gd name="connsiteY267" fmla="*/ 2281822 h 2323145"/>
              <a:gd name="connsiteX268" fmla="*/ 0 w 11269336"/>
              <a:gd name="connsiteY268" fmla="*/ 2285369 h 2323145"/>
              <a:gd name="connsiteX269" fmla="*/ 0 w 11269336"/>
              <a:gd name="connsiteY269"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837498 w 11269336"/>
              <a:gd name="connsiteY32" fmla="*/ 885664 h 2323145"/>
              <a:gd name="connsiteX33" fmla="*/ 8795998 w 11269336"/>
              <a:gd name="connsiteY33" fmla="*/ 863337 h 2323145"/>
              <a:gd name="connsiteX34" fmla="*/ 8776970 w 11269336"/>
              <a:gd name="connsiteY34" fmla="*/ 885177 h 2323145"/>
              <a:gd name="connsiteX35" fmla="*/ 8755719 w 11269336"/>
              <a:gd name="connsiteY35" fmla="*/ 889754 h 2323145"/>
              <a:gd name="connsiteX36" fmla="*/ 8743257 w 11269336"/>
              <a:gd name="connsiteY36" fmla="*/ 904723 h 2323145"/>
              <a:gd name="connsiteX37" fmla="*/ 8721366 w 11269336"/>
              <a:gd name="connsiteY37" fmla="*/ 904711 h 2323145"/>
              <a:gd name="connsiteX38" fmla="*/ 8678353 w 11269336"/>
              <a:gd name="connsiteY38" fmla="*/ 926318 h 2323145"/>
              <a:gd name="connsiteX39" fmla="*/ 8636849 w 11269336"/>
              <a:gd name="connsiteY39" fmla="*/ 937900 h 2323145"/>
              <a:gd name="connsiteX40" fmla="*/ 8620213 w 11269336"/>
              <a:gd name="connsiteY40" fmla="*/ 943068 h 2323145"/>
              <a:gd name="connsiteX41" fmla="*/ 8612581 w 11269336"/>
              <a:gd name="connsiteY41" fmla="*/ 952695 h 2323145"/>
              <a:gd name="connsiteX42" fmla="*/ 8589038 w 11269336"/>
              <a:gd name="connsiteY42" fmla="*/ 963892 h 2323145"/>
              <a:gd name="connsiteX43" fmla="*/ 8579950 w 11269336"/>
              <a:gd name="connsiteY43" fmla="*/ 960899 h 2323145"/>
              <a:gd name="connsiteX44" fmla="*/ 8579319 w 11269336"/>
              <a:gd name="connsiteY44" fmla="*/ 965630 h 2323145"/>
              <a:gd name="connsiteX45" fmla="*/ 8547429 w 11269336"/>
              <a:gd name="connsiteY45" fmla="*/ 984506 h 2323145"/>
              <a:gd name="connsiteX46" fmla="*/ 8478704 w 11269336"/>
              <a:gd name="connsiteY46" fmla="*/ 1025490 h 2323145"/>
              <a:gd name="connsiteX47" fmla="*/ 8461421 w 11269336"/>
              <a:gd name="connsiteY47" fmla="*/ 1035512 h 2323145"/>
              <a:gd name="connsiteX48" fmla="*/ 8445003 w 11269336"/>
              <a:gd name="connsiteY48" fmla="*/ 1036851 h 2323145"/>
              <a:gd name="connsiteX49" fmla="*/ 8357350 w 11269336"/>
              <a:gd name="connsiteY49" fmla="*/ 1060213 h 2323145"/>
              <a:gd name="connsiteX50" fmla="*/ 8335565 w 11269336"/>
              <a:gd name="connsiteY50" fmla="*/ 1061151 h 2323145"/>
              <a:gd name="connsiteX51" fmla="*/ 8325267 w 11269336"/>
              <a:gd name="connsiteY51" fmla="*/ 1055919 h 2323145"/>
              <a:gd name="connsiteX52" fmla="*/ 8293586 w 11269336"/>
              <a:gd name="connsiteY52" fmla="*/ 1076144 h 2323145"/>
              <a:gd name="connsiteX53" fmla="*/ 8242405 w 11269336"/>
              <a:gd name="connsiteY53" fmla="*/ 1095960 h 2323145"/>
              <a:gd name="connsiteX54" fmla="*/ 8197391 w 11269336"/>
              <a:gd name="connsiteY54" fmla="*/ 1107746 h 2323145"/>
              <a:gd name="connsiteX55" fmla="*/ 8081474 w 11269336"/>
              <a:gd name="connsiteY55" fmla="*/ 1130125 h 2323145"/>
              <a:gd name="connsiteX56" fmla="*/ 8053585 w 11269336"/>
              <a:gd name="connsiteY56" fmla="*/ 1129169 h 2323145"/>
              <a:gd name="connsiteX57" fmla="*/ 8038422 w 11269336"/>
              <a:gd name="connsiteY57" fmla="*/ 1119092 h 2323145"/>
              <a:gd name="connsiteX58" fmla="*/ 8029450 w 11269336"/>
              <a:gd name="connsiteY58" fmla="*/ 1125592 h 2323145"/>
              <a:gd name="connsiteX59" fmla="*/ 7959552 w 11269336"/>
              <a:gd name="connsiteY59" fmla="*/ 1140188 h 2323145"/>
              <a:gd name="connsiteX60" fmla="*/ 7914188 w 11269336"/>
              <a:gd name="connsiteY60" fmla="*/ 1150862 h 2323145"/>
              <a:gd name="connsiteX61" fmla="*/ 7914918 w 11269336"/>
              <a:gd name="connsiteY61" fmla="*/ 1168758 h 2323145"/>
              <a:gd name="connsiteX62" fmla="*/ 7875510 w 11269336"/>
              <a:gd name="connsiteY62" fmla="*/ 1183153 h 2323145"/>
              <a:gd name="connsiteX63" fmla="*/ 7829932 w 11269336"/>
              <a:gd name="connsiteY63" fmla="*/ 1180782 h 2323145"/>
              <a:gd name="connsiteX64" fmla="*/ 7779182 w 11269336"/>
              <a:gd name="connsiteY64" fmla="*/ 1192665 h 2323145"/>
              <a:gd name="connsiteX65" fmla="*/ 7748774 w 11269336"/>
              <a:gd name="connsiteY65" fmla="*/ 1199586 h 2323145"/>
              <a:gd name="connsiteX66" fmla="*/ 7671846 w 11269336"/>
              <a:gd name="connsiteY66" fmla="*/ 1231966 h 2323145"/>
              <a:gd name="connsiteX67" fmla="*/ 7554146 w 11269336"/>
              <a:gd name="connsiteY67" fmla="*/ 1319748 h 2323145"/>
              <a:gd name="connsiteX68" fmla="*/ 7515052 w 11269336"/>
              <a:gd name="connsiteY68" fmla="*/ 1336718 h 2323145"/>
              <a:gd name="connsiteX69" fmla="*/ 7507193 w 11269336"/>
              <a:gd name="connsiteY69" fmla="*/ 1334617 h 2323145"/>
              <a:gd name="connsiteX70" fmla="*/ 7461694 w 11269336"/>
              <a:gd name="connsiteY70" fmla="*/ 1375866 h 2323145"/>
              <a:gd name="connsiteX71" fmla="*/ 7377571 w 11269336"/>
              <a:gd name="connsiteY71" fmla="*/ 1400128 h 2323145"/>
              <a:gd name="connsiteX72" fmla="*/ 7311261 w 11269336"/>
              <a:gd name="connsiteY72" fmla="*/ 1412652 h 2323145"/>
              <a:gd name="connsiteX73" fmla="*/ 7275307 w 11269336"/>
              <a:gd name="connsiteY73" fmla="*/ 1422171 h 2323145"/>
              <a:gd name="connsiteX74" fmla="*/ 7247783 w 11269336"/>
              <a:gd name="connsiteY74" fmla="*/ 1426330 h 2323145"/>
              <a:gd name="connsiteX75" fmla="*/ 7185047 w 11269336"/>
              <a:gd name="connsiteY75" fmla="*/ 1451812 h 2323145"/>
              <a:gd name="connsiteX76" fmla="*/ 7084117 w 11269336"/>
              <a:gd name="connsiteY76" fmla="*/ 1500281 h 2323145"/>
              <a:gd name="connsiteX77" fmla="*/ 7062011 w 11269336"/>
              <a:gd name="connsiteY77" fmla="*/ 1509183 h 2323145"/>
              <a:gd name="connsiteX78" fmla="*/ 7040555 w 11269336"/>
              <a:gd name="connsiteY78" fmla="*/ 1511207 h 2323145"/>
              <a:gd name="connsiteX79" fmla="*/ 7033438 w 11269336"/>
              <a:gd name="connsiteY79" fmla="*/ 1506772 h 2323145"/>
              <a:gd name="connsiteX80" fmla="*/ 7020886 w 11269336"/>
              <a:gd name="connsiteY80" fmla="*/ 1510764 h 2323145"/>
              <a:gd name="connsiteX81" fmla="*/ 7017033 w 11269336"/>
              <a:gd name="connsiteY81" fmla="*/ 1510650 h 2323145"/>
              <a:gd name="connsiteX82" fmla="*/ 6995460 w 11269336"/>
              <a:gd name="connsiteY82" fmla="*/ 1511173 h 2323145"/>
              <a:gd name="connsiteX83" fmla="*/ 6962144 w 11269336"/>
              <a:gd name="connsiteY83" fmla="*/ 1541508 h 2323145"/>
              <a:gd name="connsiteX84" fmla="*/ 6910674 w 11269336"/>
              <a:gd name="connsiteY84" fmla="*/ 1554793 h 2323145"/>
              <a:gd name="connsiteX85" fmla="*/ 6732152 w 11269336"/>
              <a:gd name="connsiteY85" fmla="*/ 1642538 h 2323145"/>
              <a:gd name="connsiteX86" fmla="*/ 6694106 w 11269336"/>
              <a:gd name="connsiteY86" fmla="*/ 1632377 h 2323145"/>
              <a:gd name="connsiteX87" fmla="*/ 6617223 w 11269336"/>
              <a:gd name="connsiteY87" fmla="*/ 1659889 h 2323145"/>
              <a:gd name="connsiteX88" fmla="*/ 6521138 w 11269336"/>
              <a:gd name="connsiteY88" fmla="*/ 1744340 h 2323145"/>
              <a:gd name="connsiteX89" fmla="*/ 6380677 w 11269336"/>
              <a:gd name="connsiteY89" fmla="*/ 1796883 h 2323145"/>
              <a:gd name="connsiteX90" fmla="*/ 6374897 w 11269336"/>
              <a:gd name="connsiteY90" fmla="*/ 1809910 h 2323145"/>
              <a:gd name="connsiteX91" fmla="*/ 6364545 w 11269336"/>
              <a:gd name="connsiteY91" fmla="*/ 1820090 h 2323145"/>
              <a:gd name="connsiteX92" fmla="*/ 6362126 w 11269336"/>
              <a:gd name="connsiteY92" fmla="*/ 1819991 h 2323145"/>
              <a:gd name="connsiteX93" fmla="*/ 6346673 w 11269336"/>
              <a:gd name="connsiteY93" fmla="*/ 1827824 h 2323145"/>
              <a:gd name="connsiteX94" fmla="*/ 6345588 w 11269336"/>
              <a:gd name="connsiteY94" fmla="*/ 1832232 h 2323145"/>
              <a:gd name="connsiteX95" fmla="*/ 6335708 w 11269336"/>
              <a:gd name="connsiteY95" fmla="*/ 1838451 h 2323145"/>
              <a:gd name="connsiteX96" fmla="*/ 6318182 w 11269336"/>
              <a:gd name="connsiteY96" fmla="*/ 1852975 h 2323145"/>
              <a:gd name="connsiteX97" fmla="*/ 6313084 w 11269336"/>
              <a:gd name="connsiteY97" fmla="*/ 1853561 h 2323145"/>
              <a:gd name="connsiteX98" fmla="*/ 6283816 w 11269336"/>
              <a:gd name="connsiteY98" fmla="*/ 1872148 h 2323145"/>
              <a:gd name="connsiteX99" fmla="*/ 6282550 w 11269336"/>
              <a:gd name="connsiteY99" fmla="*/ 1871392 h 2323145"/>
              <a:gd name="connsiteX100" fmla="*/ 6270527 w 11269336"/>
              <a:gd name="connsiteY100" fmla="*/ 1872208 h 2323145"/>
              <a:gd name="connsiteX101" fmla="*/ 6249518 w 11269336"/>
              <a:gd name="connsiteY101" fmla="*/ 1876079 h 2323145"/>
              <a:gd name="connsiteX102" fmla="*/ 6190386 w 11269336"/>
              <a:gd name="connsiteY102" fmla="*/ 1872478 h 2323145"/>
              <a:gd name="connsiteX103" fmla="*/ 6159777 w 11269336"/>
              <a:gd name="connsiteY103" fmla="*/ 1891745 h 2323145"/>
              <a:gd name="connsiteX104" fmla="*/ 6153131 w 11269336"/>
              <a:gd name="connsiteY104" fmla="*/ 1895079 h 2323145"/>
              <a:gd name="connsiteX105" fmla="*/ 6152798 w 11269336"/>
              <a:gd name="connsiteY105" fmla="*/ 1894920 h 2323145"/>
              <a:gd name="connsiteX106" fmla="*/ 6145388 w 11269336"/>
              <a:gd name="connsiteY106" fmla="*/ 1897990 h 2323145"/>
              <a:gd name="connsiteX107" fmla="*/ 6141014 w 11269336"/>
              <a:gd name="connsiteY107" fmla="*/ 1901155 h 2323145"/>
              <a:gd name="connsiteX108" fmla="*/ 6128122 w 11269336"/>
              <a:gd name="connsiteY108" fmla="*/ 1907623 h 2323145"/>
              <a:gd name="connsiteX109" fmla="*/ 6122351 w 11269336"/>
              <a:gd name="connsiteY109" fmla="*/ 1908359 h 2323145"/>
              <a:gd name="connsiteX110" fmla="*/ 6064750 w 11269336"/>
              <a:gd name="connsiteY110" fmla="*/ 1896394 h 2323145"/>
              <a:gd name="connsiteX111" fmla="*/ 5964230 w 11269336"/>
              <a:gd name="connsiteY111" fmla="*/ 1910038 h 2323145"/>
              <a:gd name="connsiteX112" fmla="*/ 5865399 w 11269336"/>
              <a:gd name="connsiteY112" fmla="*/ 1926966 h 2323145"/>
              <a:gd name="connsiteX113" fmla="*/ 5829951 w 11269336"/>
              <a:gd name="connsiteY113" fmla="*/ 1934755 h 2323145"/>
              <a:gd name="connsiteX114" fmla="*/ 5765285 w 11269336"/>
              <a:gd name="connsiteY114" fmla="*/ 1941322 h 2323145"/>
              <a:gd name="connsiteX115" fmla="*/ 5734750 w 11269336"/>
              <a:gd name="connsiteY115" fmla="*/ 1939793 h 2323145"/>
              <a:gd name="connsiteX116" fmla="*/ 5733569 w 11269336"/>
              <a:gd name="connsiteY116" fmla="*/ 1940505 h 2323145"/>
              <a:gd name="connsiteX117" fmla="*/ 5730329 w 11269336"/>
              <a:gd name="connsiteY117" fmla="*/ 1937845 h 2323145"/>
              <a:gd name="connsiteX118" fmla="*/ 5724661 w 11269336"/>
              <a:gd name="connsiteY118" fmla="*/ 1937455 h 2323145"/>
              <a:gd name="connsiteX119" fmla="*/ 5710186 w 11269336"/>
              <a:gd name="connsiteY119" fmla="*/ 1941370 h 2323145"/>
              <a:gd name="connsiteX120" fmla="*/ 5704910 w 11269336"/>
              <a:gd name="connsiteY120" fmla="*/ 1943663 h 2323145"/>
              <a:gd name="connsiteX121" fmla="*/ 5696836 w 11269336"/>
              <a:gd name="connsiteY121" fmla="*/ 1945271 h 2323145"/>
              <a:gd name="connsiteX122" fmla="*/ 5696583 w 11269336"/>
              <a:gd name="connsiteY122" fmla="*/ 1945050 h 2323145"/>
              <a:gd name="connsiteX123" fmla="*/ 5689123 w 11269336"/>
              <a:gd name="connsiteY123" fmla="*/ 1947067 h 2323145"/>
              <a:gd name="connsiteX124" fmla="*/ 5653291 w 11269336"/>
              <a:gd name="connsiteY124" fmla="*/ 1960245 h 2323145"/>
              <a:gd name="connsiteX125" fmla="*/ 5599385 w 11269336"/>
              <a:gd name="connsiteY125" fmla="*/ 1945198 h 2323145"/>
              <a:gd name="connsiteX126" fmla="*/ 5578300 w 11269336"/>
              <a:gd name="connsiteY126" fmla="*/ 1944963 h 2323145"/>
              <a:gd name="connsiteX127" fmla="*/ 5566758 w 11269336"/>
              <a:gd name="connsiteY127" fmla="*/ 1943441 h 2323145"/>
              <a:gd name="connsiteX128" fmla="*/ 5565857 w 11269336"/>
              <a:gd name="connsiteY128" fmla="*/ 1942445 h 2323145"/>
              <a:gd name="connsiteX129" fmla="*/ 5531534 w 11269336"/>
              <a:gd name="connsiteY129" fmla="*/ 1955208 h 2323145"/>
              <a:gd name="connsiteX130" fmla="*/ 5526552 w 11269336"/>
              <a:gd name="connsiteY130" fmla="*/ 1954799 h 2323145"/>
              <a:gd name="connsiteX131" fmla="*/ 5504723 w 11269336"/>
              <a:gd name="connsiteY131" fmla="*/ 1965811 h 2323145"/>
              <a:gd name="connsiteX132" fmla="*/ 5493156 w 11269336"/>
              <a:gd name="connsiteY132" fmla="*/ 1970063 h 2323145"/>
              <a:gd name="connsiteX133" fmla="*/ 5490486 w 11269336"/>
              <a:gd name="connsiteY133" fmla="*/ 1974227 h 2323145"/>
              <a:gd name="connsiteX134" fmla="*/ 5473107 w 11269336"/>
              <a:gd name="connsiteY134" fmla="*/ 1979001 h 2323145"/>
              <a:gd name="connsiteX135" fmla="*/ 5470885 w 11269336"/>
              <a:gd name="connsiteY135" fmla="*/ 1978432 h 2323145"/>
              <a:gd name="connsiteX136" fmla="*/ 5457393 w 11269336"/>
              <a:gd name="connsiteY136" fmla="*/ 1986525 h 2323145"/>
              <a:gd name="connsiteX137" fmla="*/ 5447102 w 11269336"/>
              <a:gd name="connsiteY137" fmla="*/ 1998329 h 2323145"/>
              <a:gd name="connsiteX138" fmla="*/ 5159151 w 11269336"/>
              <a:gd name="connsiteY138" fmla="*/ 2029640 h 2323145"/>
              <a:gd name="connsiteX139" fmla="*/ 5041688 w 11269336"/>
              <a:gd name="connsiteY139" fmla="*/ 2022334 h 2323145"/>
              <a:gd name="connsiteX140" fmla="*/ 4860988 w 11269336"/>
              <a:gd name="connsiteY140" fmla="*/ 2135698 h 2323145"/>
              <a:gd name="connsiteX141" fmla="*/ 4807902 w 11269336"/>
              <a:gd name="connsiteY141" fmla="*/ 2138894 h 2323145"/>
              <a:gd name="connsiteX142" fmla="*/ 4765388 w 11269336"/>
              <a:gd name="connsiteY142" fmla="*/ 2162525 h 2323145"/>
              <a:gd name="connsiteX143" fmla="*/ 4745033 w 11269336"/>
              <a:gd name="connsiteY143" fmla="*/ 2158859 h 2323145"/>
              <a:gd name="connsiteX144" fmla="*/ 4741475 w 11269336"/>
              <a:gd name="connsiteY144" fmla="*/ 2157998 h 2323145"/>
              <a:gd name="connsiteX145" fmla="*/ 4728247 w 11269336"/>
              <a:gd name="connsiteY145" fmla="*/ 2159526 h 2323145"/>
              <a:gd name="connsiteX146" fmla="*/ 4723263 w 11269336"/>
              <a:gd name="connsiteY146" fmla="*/ 2153742 h 2323145"/>
              <a:gd name="connsiteX147" fmla="*/ 4702453 w 11269336"/>
              <a:gd name="connsiteY147" fmla="*/ 2151586 h 2323145"/>
              <a:gd name="connsiteX148" fmla="*/ 4678455 w 11269336"/>
              <a:gd name="connsiteY148" fmla="*/ 2156131 h 2323145"/>
              <a:gd name="connsiteX149" fmla="*/ 4593061 w 11269336"/>
              <a:gd name="connsiteY149" fmla="*/ 2171597 h 2323145"/>
              <a:gd name="connsiteX150" fmla="*/ 4579902 w 11269336"/>
              <a:gd name="connsiteY150" fmla="*/ 2177927 h 2323145"/>
              <a:gd name="connsiteX151" fmla="*/ 4533444 w 11269336"/>
              <a:gd name="connsiteY151" fmla="*/ 2181200 h 2323145"/>
              <a:gd name="connsiteX152" fmla="*/ 4492832 w 11269336"/>
              <a:gd name="connsiteY152" fmla="*/ 2188033 h 2323145"/>
              <a:gd name="connsiteX153" fmla="*/ 4467257 w 11269336"/>
              <a:gd name="connsiteY153" fmla="*/ 2196121 h 2323145"/>
              <a:gd name="connsiteX154" fmla="*/ 4459937 w 11269336"/>
              <a:gd name="connsiteY154" fmla="*/ 2195182 h 2323145"/>
              <a:gd name="connsiteX155" fmla="*/ 4433312 w 11269336"/>
              <a:gd name="connsiteY155" fmla="*/ 2199004 h 2323145"/>
              <a:gd name="connsiteX156" fmla="*/ 4420601 w 11269336"/>
              <a:gd name="connsiteY156" fmla="*/ 2205158 h 2323145"/>
              <a:gd name="connsiteX157" fmla="*/ 4405765 w 11269336"/>
              <a:gd name="connsiteY157" fmla="*/ 2199902 h 2323145"/>
              <a:gd name="connsiteX158" fmla="*/ 4401354 w 11269336"/>
              <a:gd name="connsiteY158" fmla="*/ 2194745 h 2323145"/>
              <a:gd name="connsiteX159" fmla="*/ 4383151 w 11269336"/>
              <a:gd name="connsiteY159" fmla="*/ 2201140 h 2323145"/>
              <a:gd name="connsiteX160" fmla="*/ 4366646 w 11269336"/>
              <a:gd name="connsiteY160" fmla="*/ 2198564 h 2323145"/>
              <a:gd name="connsiteX161" fmla="*/ 4354009 w 11269336"/>
              <a:gd name="connsiteY161" fmla="*/ 2204984 h 2323145"/>
              <a:gd name="connsiteX162" fmla="*/ 4348284 w 11269336"/>
              <a:gd name="connsiteY162" fmla="*/ 2205270 h 2323145"/>
              <a:gd name="connsiteX163" fmla="*/ 4333906 w 11269336"/>
              <a:gd name="connsiteY163" fmla="*/ 2205251 h 2323145"/>
              <a:gd name="connsiteX164" fmla="*/ 4308819 w 11269336"/>
              <a:gd name="connsiteY164" fmla="*/ 2203822 h 2323145"/>
              <a:gd name="connsiteX165" fmla="*/ 4301210 w 11269336"/>
              <a:gd name="connsiteY165" fmla="*/ 2204456 h 2323145"/>
              <a:gd name="connsiteX166" fmla="*/ 4283095 w 11269336"/>
              <a:gd name="connsiteY166" fmla="*/ 2198177 h 2323145"/>
              <a:gd name="connsiteX167" fmla="*/ 4250119 w 11269336"/>
              <a:gd name="connsiteY167" fmla="*/ 2196342 h 2323145"/>
              <a:gd name="connsiteX168" fmla="*/ 4189203 w 11269336"/>
              <a:gd name="connsiteY168" fmla="*/ 2178994 h 2323145"/>
              <a:gd name="connsiteX169" fmla="*/ 4154035 w 11269336"/>
              <a:gd name="connsiteY169" fmla="*/ 2171950 h 2323145"/>
              <a:gd name="connsiteX170" fmla="*/ 4129569 w 11269336"/>
              <a:gd name="connsiteY170" fmla="*/ 2163850 h 2323145"/>
              <a:gd name="connsiteX171" fmla="*/ 4061250 w 11269336"/>
              <a:gd name="connsiteY171" fmla="*/ 2159236 h 2323145"/>
              <a:gd name="connsiteX172" fmla="*/ 3945480 w 11269336"/>
              <a:gd name="connsiteY172" fmla="*/ 2158279 h 2323145"/>
              <a:gd name="connsiteX173" fmla="*/ 3921468 w 11269336"/>
              <a:gd name="connsiteY173" fmla="*/ 2156588 h 2323145"/>
              <a:gd name="connsiteX174" fmla="*/ 3903348 w 11269336"/>
              <a:gd name="connsiteY174" fmla="*/ 2149220 h 2323145"/>
              <a:gd name="connsiteX175" fmla="*/ 3901342 w 11269336"/>
              <a:gd name="connsiteY175" fmla="*/ 2142355 h 2323145"/>
              <a:gd name="connsiteX176" fmla="*/ 3888539 w 11269336"/>
              <a:gd name="connsiteY176" fmla="*/ 2140476 h 2323145"/>
              <a:gd name="connsiteX177" fmla="*/ 3885662 w 11269336"/>
              <a:gd name="connsiteY177" fmla="*/ 2138740 h 2323145"/>
              <a:gd name="connsiteX178" fmla="*/ 3868627 w 11269336"/>
              <a:gd name="connsiteY178" fmla="*/ 2130023 h 2323145"/>
              <a:gd name="connsiteX179" fmla="*/ 3819177 w 11269336"/>
              <a:gd name="connsiteY179" fmla="*/ 2142111 h 2323145"/>
              <a:gd name="connsiteX180" fmla="*/ 3769100 w 11269336"/>
              <a:gd name="connsiteY180" fmla="*/ 2131731 h 2323145"/>
              <a:gd name="connsiteX181" fmla="*/ 3562752 w 11269336"/>
              <a:gd name="connsiteY181" fmla="*/ 2131785 h 2323145"/>
              <a:gd name="connsiteX182" fmla="*/ 3541402 w 11269336"/>
              <a:gd name="connsiteY182" fmla="*/ 2106821 h 2323145"/>
              <a:gd name="connsiteX183" fmla="*/ 3365341 w 11269336"/>
              <a:gd name="connsiteY183" fmla="*/ 2077638 h 2323145"/>
              <a:gd name="connsiteX184" fmla="*/ 3170922 w 11269336"/>
              <a:gd name="connsiteY184" fmla="*/ 2115957 h 2323145"/>
              <a:gd name="connsiteX185" fmla="*/ 3156256 w 11269336"/>
              <a:gd name="connsiteY185" fmla="*/ 2124773 h 2323145"/>
              <a:gd name="connsiteX186" fmla="*/ 3140298 w 11269336"/>
              <a:gd name="connsiteY186" fmla="*/ 2129182 h 2323145"/>
              <a:gd name="connsiteX187" fmla="*/ 3138514 w 11269336"/>
              <a:gd name="connsiteY187" fmla="*/ 2128069 h 2323145"/>
              <a:gd name="connsiteX188" fmla="*/ 3120467 w 11269336"/>
              <a:gd name="connsiteY188" fmla="*/ 2128281 h 2323145"/>
              <a:gd name="connsiteX189" fmla="*/ 3116175 w 11269336"/>
              <a:gd name="connsiteY189" fmla="*/ 2131633 h 2323145"/>
              <a:gd name="connsiteX190" fmla="*/ 3103685 w 11269336"/>
              <a:gd name="connsiteY190" fmla="*/ 2132814 h 2323145"/>
              <a:gd name="connsiteX191" fmla="*/ 3078794 w 11269336"/>
              <a:gd name="connsiteY191" fmla="*/ 2137935 h 2323145"/>
              <a:gd name="connsiteX192" fmla="*/ 3074407 w 11269336"/>
              <a:gd name="connsiteY192" fmla="*/ 2136274 h 2323145"/>
              <a:gd name="connsiteX193" fmla="*/ 3037285 w 11269336"/>
              <a:gd name="connsiteY193" fmla="*/ 2139919 h 2323145"/>
              <a:gd name="connsiteX194" fmla="*/ 3036901 w 11269336"/>
              <a:gd name="connsiteY194" fmla="*/ 2138726 h 2323145"/>
              <a:gd name="connsiteX195" fmla="*/ 3026996 w 11269336"/>
              <a:gd name="connsiteY195" fmla="*/ 2134322 h 2323145"/>
              <a:gd name="connsiteX196" fmla="*/ 3007772 w 11269336"/>
              <a:gd name="connsiteY196" fmla="*/ 2128742 h 2323145"/>
              <a:gd name="connsiteX197" fmla="*/ 2965030 w 11269336"/>
              <a:gd name="connsiteY197" fmla="*/ 2100494 h 2323145"/>
              <a:gd name="connsiteX198" fmla="*/ 2926342 w 11269336"/>
              <a:gd name="connsiteY198" fmla="*/ 2104155 h 2323145"/>
              <a:gd name="connsiteX199" fmla="*/ 2918608 w 11269336"/>
              <a:gd name="connsiteY199" fmla="*/ 2104215 h 2323145"/>
              <a:gd name="connsiteX200" fmla="*/ 2918475 w 11269336"/>
              <a:gd name="connsiteY200" fmla="*/ 2103937 h 2323145"/>
              <a:gd name="connsiteX201" fmla="*/ 2910360 w 11269336"/>
              <a:gd name="connsiteY201" fmla="*/ 2103444 h 2323145"/>
              <a:gd name="connsiteX202" fmla="*/ 2904507 w 11269336"/>
              <a:gd name="connsiteY202" fmla="*/ 2104326 h 2323145"/>
              <a:gd name="connsiteX203" fmla="*/ 2889503 w 11269336"/>
              <a:gd name="connsiteY203" fmla="*/ 2104443 h 2323145"/>
              <a:gd name="connsiteX204" fmla="*/ 2884480 w 11269336"/>
              <a:gd name="connsiteY204" fmla="*/ 2102626 h 2323145"/>
              <a:gd name="connsiteX205" fmla="*/ 2882689 w 11269336"/>
              <a:gd name="connsiteY205" fmla="*/ 2099228 h 2323145"/>
              <a:gd name="connsiteX206" fmla="*/ 2881291 w 11269336"/>
              <a:gd name="connsiteY206" fmla="*/ 2099618 h 2323145"/>
              <a:gd name="connsiteX207" fmla="*/ 2853979 w 11269336"/>
              <a:gd name="connsiteY207" fmla="*/ 2090388 h 2323145"/>
              <a:gd name="connsiteX208" fmla="*/ 2791790 w 11269336"/>
              <a:gd name="connsiteY208" fmla="*/ 2080332 h 2323145"/>
              <a:gd name="connsiteX209" fmla="*/ 2755844 w 11269336"/>
              <a:gd name="connsiteY209" fmla="*/ 2078874 h 2323145"/>
              <a:gd name="connsiteX210" fmla="*/ 2657742 w 11269336"/>
              <a:gd name="connsiteY210" fmla="*/ 2070179 h 2323145"/>
              <a:gd name="connsiteX211" fmla="*/ 2559549 w 11269336"/>
              <a:gd name="connsiteY211" fmla="*/ 2057873 h 2323145"/>
              <a:gd name="connsiteX212" fmla="*/ 2512054 w 11269336"/>
              <a:gd name="connsiteY212" fmla="*/ 2031671 h 2323145"/>
              <a:gd name="connsiteX213" fmla="*/ 2506437 w 11269336"/>
              <a:gd name="connsiteY213" fmla="*/ 2030918 h 2323145"/>
              <a:gd name="connsiteX214" fmla="*/ 2491752 w 11269336"/>
              <a:gd name="connsiteY214" fmla="*/ 2033906 h 2323145"/>
              <a:gd name="connsiteX215" fmla="*/ 2486338 w 11269336"/>
              <a:gd name="connsiteY215" fmla="*/ 2035862 h 2323145"/>
              <a:gd name="connsiteX216" fmla="*/ 2478186 w 11269336"/>
              <a:gd name="connsiteY216" fmla="*/ 2036953 h 2323145"/>
              <a:gd name="connsiteX217" fmla="*/ 2477950 w 11269336"/>
              <a:gd name="connsiteY217" fmla="*/ 2036715 h 2323145"/>
              <a:gd name="connsiteX218" fmla="*/ 2470381 w 11269336"/>
              <a:gd name="connsiteY218" fmla="*/ 2038256 h 2323145"/>
              <a:gd name="connsiteX219" fmla="*/ 2433781 w 11269336"/>
              <a:gd name="connsiteY219" fmla="*/ 2049140 h 2323145"/>
              <a:gd name="connsiteX220" fmla="*/ 2381172 w 11269336"/>
              <a:gd name="connsiteY220" fmla="*/ 2030645 h 2323145"/>
              <a:gd name="connsiteX221" fmla="*/ 2360198 w 11269336"/>
              <a:gd name="connsiteY221" fmla="*/ 2029059 h 2323145"/>
              <a:gd name="connsiteX222" fmla="*/ 2348815 w 11269336"/>
              <a:gd name="connsiteY222" fmla="*/ 2026798 h 2323145"/>
              <a:gd name="connsiteX223" fmla="*/ 2347988 w 11269336"/>
              <a:gd name="connsiteY223" fmla="*/ 2025745 h 2323145"/>
              <a:gd name="connsiteX224" fmla="*/ 2312920 w 11269336"/>
              <a:gd name="connsiteY224" fmla="*/ 2036311 h 2323145"/>
              <a:gd name="connsiteX225" fmla="*/ 2307986 w 11269336"/>
              <a:gd name="connsiteY225" fmla="*/ 2035583 h 2323145"/>
              <a:gd name="connsiteX226" fmla="*/ 2285481 w 11269336"/>
              <a:gd name="connsiteY226" fmla="*/ 2045197 h 2323145"/>
              <a:gd name="connsiteX227" fmla="*/ 2273666 w 11269336"/>
              <a:gd name="connsiteY227" fmla="*/ 2048710 h 2323145"/>
              <a:gd name="connsiteX228" fmla="*/ 2270719 w 11269336"/>
              <a:gd name="connsiteY228" fmla="*/ 2052702 h 2323145"/>
              <a:gd name="connsiteX229" fmla="*/ 2253080 w 11269336"/>
              <a:gd name="connsiteY229" fmla="*/ 2056363 h 2323145"/>
              <a:gd name="connsiteX230" fmla="*/ 2250906 w 11269336"/>
              <a:gd name="connsiteY230" fmla="*/ 2055654 h 2323145"/>
              <a:gd name="connsiteX231" fmla="*/ 2236905 w 11269336"/>
              <a:gd name="connsiteY231" fmla="*/ 2062882 h 2323145"/>
              <a:gd name="connsiteX232" fmla="*/ 2225830 w 11269336"/>
              <a:gd name="connsiteY232" fmla="*/ 2074027 h 2323145"/>
              <a:gd name="connsiteX233" fmla="*/ 2073776 w 11269336"/>
              <a:gd name="connsiteY233" fmla="*/ 2089244 h 2323145"/>
              <a:gd name="connsiteX234" fmla="*/ 1948256 w 11269336"/>
              <a:gd name="connsiteY234" fmla="*/ 2146616 h 2323145"/>
              <a:gd name="connsiteX235" fmla="*/ 1865582 w 11269336"/>
              <a:gd name="connsiteY235" fmla="*/ 2153738 h 2323145"/>
              <a:gd name="connsiteX236" fmla="*/ 1835210 w 11269336"/>
              <a:gd name="connsiteY236" fmla="*/ 2134244 h 2323145"/>
              <a:gd name="connsiteX237" fmla="*/ 1632661 w 11269336"/>
              <a:gd name="connsiteY237" fmla="*/ 2173882 h 2323145"/>
              <a:gd name="connsiteX238" fmla="*/ 1579590 w 11269336"/>
              <a:gd name="connsiteY238" fmla="*/ 2173680 h 2323145"/>
              <a:gd name="connsiteX239" fmla="*/ 1535601 w 11269336"/>
              <a:gd name="connsiteY239" fmla="*/ 2194590 h 2323145"/>
              <a:gd name="connsiteX240" fmla="*/ 1515594 w 11269336"/>
              <a:gd name="connsiteY240" fmla="*/ 2189622 h 2323145"/>
              <a:gd name="connsiteX241" fmla="*/ 1512113 w 11269336"/>
              <a:gd name="connsiteY241" fmla="*/ 2188534 h 2323145"/>
              <a:gd name="connsiteX242" fmla="*/ 1498838 w 11269336"/>
              <a:gd name="connsiteY242" fmla="*/ 2189213 h 2323145"/>
              <a:gd name="connsiteX243" fmla="*/ 1494279 w 11269336"/>
              <a:gd name="connsiteY243" fmla="*/ 2183112 h 2323145"/>
              <a:gd name="connsiteX244" fmla="*/ 1473714 w 11269336"/>
              <a:gd name="connsiteY244" fmla="*/ 2179625 h 2323145"/>
              <a:gd name="connsiteX245" fmla="*/ 1449503 w 11269336"/>
              <a:gd name="connsiteY245" fmla="*/ 2182633 h 2323145"/>
              <a:gd name="connsiteX246" fmla="*/ 1266687 w 11269336"/>
              <a:gd name="connsiteY246" fmla="*/ 2212688 h 2323145"/>
              <a:gd name="connsiteX247" fmla="*/ 1239614 w 11269336"/>
              <a:gd name="connsiteY247" fmla="*/ 2209727 h 2323145"/>
              <a:gd name="connsiteX248" fmla="*/ 1202436 w 11269336"/>
              <a:gd name="connsiteY248" fmla="*/ 2209817 h 2323145"/>
              <a:gd name="connsiteX249" fmla="*/ 1136097 w 11269336"/>
              <a:gd name="connsiteY249" fmla="*/ 2205112 h 2323145"/>
              <a:gd name="connsiteX250" fmla="*/ 988232 w 11269336"/>
              <a:gd name="connsiteY250" fmla="*/ 2235635 h 2323145"/>
              <a:gd name="connsiteX251" fmla="*/ 981959 w 11269336"/>
              <a:gd name="connsiteY251" fmla="*/ 2231607 h 2323145"/>
              <a:gd name="connsiteX252" fmla="*/ 938600 w 11269336"/>
              <a:gd name="connsiteY252" fmla="*/ 2238113 h 2323145"/>
              <a:gd name="connsiteX253" fmla="*/ 791788 w 11269336"/>
              <a:gd name="connsiteY253" fmla="*/ 2293224 h 2323145"/>
              <a:gd name="connsiteX254" fmla="*/ 706914 w 11269336"/>
              <a:gd name="connsiteY254" fmla="*/ 2305046 h 2323145"/>
              <a:gd name="connsiteX255" fmla="*/ 675971 w 11269336"/>
              <a:gd name="connsiteY255" fmla="*/ 2304030 h 2323145"/>
              <a:gd name="connsiteX256" fmla="*/ 624180 w 11269336"/>
              <a:gd name="connsiteY256" fmla="*/ 2302650 h 2323145"/>
              <a:gd name="connsiteX257" fmla="*/ 583453 w 11269336"/>
              <a:gd name="connsiteY257" fmla="*/ 2288788 h 2323145"/>
              <a:gd name="connsiteX258" fmla="*/ 540946 w 11269336"/>
              <a:gd name="connsiteY258" fmla="*/ 2292721 h 2323145"/>
              <a:gd name="connsiteX259" fmla="*/ 533680 w 11269336"/>
              <a:gd name="connsiteY259" fmla="*/ 2310233 h 2323145"/>
              <a:gd name="connsiteX260" fmla="*/ 487366 w 11269336"/>
              <a:gd name="connsiteY260" fmla="*/ 2309053 h 2323145"/>
              <a:gd name="connsiteX261" fmla="*/ 416820 w 11269336"/>
              <a:gd name="connsiteY261" fmla="*/ 2305443 h 2323145"/>
              <a:gd name="connsiteX262" fmla="*/ 376805 w 11269336"/>
              <a:gd name="connsiteY262" fmla="*/ 2307647 h 2323145"/>
              <a:gd name="connsiteX263" fmla="*/ 266777 w 11269336"/>
              <a:gd name="connsiteY263" fmla="*/ 2309012 h 2323145"/>
              <a:gd name="connsiteX264" fmla="*/ 156013 w 11269336"/>
              <a:gd name="connsiteY264" fmla="*/ 2306832 h 2323145"/>
              <a:gd name="connsiteX265" fmla="*/ 87258 w 11269336"/>
              <a:gd name="connsiteY265" fmla="*/ 2285511 h 2323145"/>
              <a:gd name="connsiteX266" fmla="*/ 23798 w 11269336"/>
              <a:gd name="connsiteY266" fmla="*/ 2281822 h 2323145"/>
              <a:gd name="connsiteX267" fmla="*/ 0 w 11269336"/>
              <a:gd name="connsiteY267" fmla="*/ 2285369 h 2323145"/>
              <a:gd name="connsiteX268" fmla="*/ 0 w 11269336"/>
              <a:gd name="connsiteY268"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561831 w 11269336"/>
              <a:gd name="connsiteY19" fmla="*/ 547649 h 2323145"/>
              <a:gd name="connsiteX20" fmla="*/ 9380600 w 11269336"/>
              <a:gd name="connsiteY20" fmla="*/ 549821 h 2323145"/>
              <a:gd name="connsiteX21" fmla="*/ 9139429 w 11269336"/>
              <a:gd name="connsiteY21" fmla="*/ 696446 h 2323145"/>
              <a:gd name="connsiteX22" fmla="*/ 9114263 w 11269336"/>
              <a:gd name="connsiteY22" fmla="*/ 709213 h 2323145"/>
              <a:gd name="connsiteX23" fmla="*/ 9028928 w 11269336"/>
              <a:gd name="connsiteY23" fmla="*/ 745350 h 2323145"/>
              <a:gd name="connsiteX24" fmla="*/ 8977138 w 11269336"/>
              <a:gd name="connsiteY24" fmla="*/ 774970 h 2323145"/>
              <a:gd name="connsiteX25" fmla="*/ 8947030 w 11269336"/>
              <a:gd name="connsiteY25" fmla="*/ 814934 h 2323145"/>
              <a:gd name="connsiteX26" fmla="*/ 8914746 w 11269336"/>
              <a:gd name="connsiteY26" fmla="*/ 826428 h 2323145"/>
              <a:gd name="connsiteX27" fmla="*/ 8917778 w 11269336"/>
              <a:gd name="connsiteY27" fmla="*/ 835198 h 2323145"/>
              <a:gd name="connsiteX28" fmla="*/ 8905560 w 11269336"/>
              <a:gd name="connsiteY28" fmla="*/ 838358 h 2323145"/>
              <a:gd name="connsiteX29" fmla="*/ 8897564 w 11269336"/>
              <a:gd name="connsiteY29" fmla="*/ 834287 h 2323145"/>
              <a:gd name="connsiteX30" fmla="*/ 8878040 w 11269336"/>
              <a:gd name="connsiteY30" fmla="*/ 844150 h 2323145"/>
              <a:gd name="connsiteX31" fmla="*/ 8882654 w 11269336"/>
              <a:gd name="connsiteY31" fmla="*/ 892768 h 2323145"/>
              <a:gd name="connsiteX32" fmla="*/ 8795998 w 11269336"/>
              <a:gd name="connsiteY32" fmla="*/ 863337 h 2323145"/>
              <a:gd name="connsiteX33" fmla="*/ 8776970 w 11269336"/>
              <a:gd name="connsiteY33" fmla="*/ 885177 h 2323145"/>
              <a:gd name="connsiteX34" fmla="*/ 8755719 w 11269336"/>
              <a:gd name="connsiteY34" fmla="*/ 889754 h 2323145"/>
              <a:gd name="connsiteX35" fmla="*/ 8743257 w 11269336"/>
              <a:gd name="connsiteY35" fmla="*/ 904723 h 2323145"/>
              <a:gd name="connsiteX36" fmla="*/ 8721366 w 11269336"/>
              <a:gd name="connsiteY36" fmla="*/ 904711 h 2323145"/>
              <a:gd name="connsiteX37" fmla="*/ 8678353 w 11269336"/>
              <a:gd name="connsiteY37" fmla="*/ 926318 h 2323145"/>
              <a:gd name="connsiteX38" fmla="*/ 8636849 w 11269336"/>
              <a:gd name="connsiteY38" fmla="*/ 937900 h 2323145"/>
              <a:gd name="connsiteX39" fmla="*/ 8620213 w 11269336"/>
              <a:gd name="connsiteY39" fmla="*/ 943068 h 2323145"/>
              <a:gd name="connsiteX40" fmla="*/ 8612581 w 11269336"/>
              <a:gd name="connsiteY40" fmla="*/ 952695 h 2323145"/>
              <a:gd name="connsiteX41" fmla="*/ 8589038 w 11269336"/>
              <a:gd name="connsiteY41" fmla="*/ 963892 h 2323145"/>
              <a:gd name="connsiteX42" fmla="*/ 8579950 w 11269336"/>
              <a:gd name="connsiteY42" fmla="*/ 960899 h 2323145"/>
              <a:gd name="connsiteX43" fmla="*/ 8579319 w 11269336"/>
              <a:gd name="connsiteY43" fmla="*/ 965630 h 2323145"/>
              <a:gd name="connsiteX44" fmla="*/ 8547429 w 11269336"/>
              <a:gd name="connsiteY44" fmla="*/ 984506 h 2323145"/>
              <a:gd name="connsiteX45" fmla="*/ 8478704 w 11269336"/>
              <a:gd name="connsiteY45" fmla="*/ 1025490 h 2323145"/>
              <a:gd name="connsiteX46" fmla="*/ 8461421 w 11269336"/>
              <a:gd name="connsiteY46" fmla="*/ 1035512 h 2323145"/>
              <a:gd name="connsiteX47" fmla="*/ 8445003 w 11269336"/>
              <a:gd name="connsiteY47" fmla="*/ 1036851 h 2323145"/>
              <a:gd name="connsiteX48" fmla="*/ 8357350 w 11269336"/>
              <a:gd name="connsiteY48" fmla="*/ 1060213 h 2323145"/>
              <a:gd name="connsiteX49" fmla="*/ 8335565 w 11269336"/>
              <a:gd name="connsiteY49" fmla="*/ 1061151 h 2323145"/>
              <a:gd name="connsiteX50" fmla="*/ 8325267 w 11269336"/>
              <a:gd name="connsiteY50" fmla="*/ 1055919 h 2323145"/>
              <a:gd name="connsiteX51" fmla="*/ 8293586 w 11269336"/>
              <a:gd name="connsiteY51" fmla="*/ 1076144 h 2323145"/>
              <a:gd name="connsiteX52" fmla="*/ 8242405 w 11269336"/>
              <a:gd name="connsiteY52" fmla="*/ 1095960 h 2323145"/>
              <a:gd name="connsiteX53" fmla="*/ 8197391 w 11269336"/>
              <a:gd name="connsiteY53" fmla="*/ 1107746 h 2323145"/>
              <a:gd name="connsiteX54" fmla="*/ 8081474 w 11269336"/>
              <a:gd name="connsiteY54" fmla="*/ 1130125 h 2323145"/>
              <a:gd name="connsiteX55" fmla="*/ 8053585 w 11269336"/>
              <a:gd name="connsiteY55" fmla="*/ 1129169 h 2323145"/>
              <a:gd name="connsiteX56" fmla="*/ 8038422 w 11269336"/>
              <a:gd name="connsiteY56" fmla="*/ 1119092 h 2323145"/>
              <a:gd name="connsiteX57" fmla="*/ 8029450 w 11269336"/>
              <a:gd name="connsiteY57" fmla="*/ 1125592 h 2323145"/>
              <a:gd name="connsiteX58" fmla="*/ 7959552 w 11269336"/>
              <a:gd name="connsiteY58" fmla="*/ 1140188 h 2323145"/>
              <a:gd name="connsiteX59" fmla="*/ 7914188 w 11269336"/>
              <a:gd name="connsiteY59" fmla="*/ 1150862 h 2323145"/>
              <a:gd name="connsiteX60" fmla="*/ 7914918 w 11269336"/>
              <a:gd name="connsiteY60" fmla="*/ 1168758 h 2323145"/>
              <a:gd name="connsiteX61" fmla="*/ 7875510 w 11269336"/>
              <a:gd name="connsiteY61" fmla="*/ 1183153 h 2323145"/>
              <a:gd name="connsiteX62" fmla="*/ 7829932 w 11269336"/>
              <a:gd name="connsiteY62" fmla="*/ 1180782 h 2323145"/>
              <a:gd name="connsiteX63" fmla="*/ 7779182 w 11269336"/>
              <a:gd name="connsiteY63" fmla="*/ 1192665 h 2323145"/>
              <a:gd name="connsiteX64" fmla="*/ 7748774 w 11269336"/>
              <a:gd name="connsiteY64" fmla="*/ 1199586 h 2323145"/>
              <a:gd name="connsiteX65" fmla="*/ 7671846 w 11269336"/>
              <a:gd name="connsiteY65" fmla="*/ 1231966 h 2323145"/>
              <a:gd name="connsiteX66" fmla="*/ 7554146 w 11269336"/>
              <a:gd name="connsiteY66" fmla="*/ 1319748 h 2323145"/>
              <a:gd name="connsiteX67" fmla="*/ 7515052 w 11269336"/>
              <a:gd name="connsiteY67" fmla="*/ 1336718 h 2323145"/>
              <a:gd name="connsiteX68" fmla="*/ 7507193 w 11269336"/>
              <a:gd name="connsiteY68" fmla="*/ 1334617 h 2323145"/>
              <a:gd name="connsiteX69" fmla="*/ 7461694 w 11269336"/>
              <a:gd name="connsiteY69" fmla="*/ 1375866 h 2323145"/>
              <a:gd name="connsiteX70" fmla="*/ 7377571 w 11269336"/>
              <a:gd name="connsiteY70" fmla="*/ 1400128 h 2323145"/>
              <a:gd name="connsiteX71" fmla="*/ 7311261 w 11269336"/>
              <a:gd name="connsiteY71" fmla="*/ 1412652 h 2323145"/>
              <a:gd name="connsiteX72" fmla="*/ 7275307 w 11269336"/>
              <a:gd name="connsiteY72" fmla="*/ 1422171 h 2323145"/>
              <a:gd name="connsiteX73" fmla="*/ 7247783 w 11269336"/>
              <a:gd name="connsiteY73" fmla="*/ 1426330 h 2323145"/>
              <a:gd name="connsiteX74" fmla="*/ 7185047 w 11269336"/>
              <a:gd name="connsiteY74" fmla="*/ 1451812 h 2323145"/>
              <a:gd name="connsiteX75" fmla="*/ 7084117 w 11269336"/>
              <a:gd name="connsiteY75" fmla="*/ 1500281 h 2323145"/>
              <a:gd name="connsiteX76" fmla="*/ 7062011 w 11269336"/>
              <a:gd name="connsiteY76" fmla="*/ 1509183 h 2323145"/>
              <a:gd name="connsiteX77" fmla="*/ 7040555 w 11269336"/>
              <a:gd name="connsiteY77" fmla="*/ 1511207 h 2323145"/>
              <a:gd name="connsiteX78" fmla="*/ 7033438 w 11269336"/>
              <a:gd name="connsiteY78" fmla="*/ 1506772 h 2323145"/>
              <a:gd name="connsiteX79" fmla="*/ 7020886 w 11269336"/>
              <a:gd name="connsiteY79" fmla="*/ 1510764 h 2323145"/>
              <a:gd name="connsiteX80" fmla="*/ 7017033 w 11269336"/>
              <a:gd name="connsiteY80" fmla="*/ 1510650 h 2323145"/>
              <a:gd name="connsiteX81" fmla="*/ 6995460 w 11269336"/>
              <a:gd name="connsiteY81" fmla="*/ 1511173 h 2323145"/>
              <a:gd name="connsiteX82" fmla="*/ 6962144 w 11269336"/>
              <a:gd name="connsiteY82" fmla="*/ 1541508 h 2323145"/>
              <a:gd name="connsiteX83" fmla="*/ 6910674 w 11269336"/>
              <a:gd name="connsiteY83" fmla="*/ 1554793 h 2323145"/>
              <a:gd name="connsiteX84" fmla="*/ 6732152 w 11269336"/>
              <a:gd name="connsiteY84" fmla="*/ 1642538 h 2323145"/>
              <a:gd name="connsiteX85" fmla="*/ 6694106 w 11269336"/>
              <a:gd name="connsiteY85" fmla="*/ 1632377 h 2323145"/>
              <a:gd name="connsiteX86" fmla="*/ 6617223 w 11269336"/>
              <a:gd name="connsiteY86" fmla="*/ 1659889 h 2323145"/>
              <a:gd name="connsiteX87" fmla="*/ 6521138 w 11269336"/>
              <a:gd name="connsiteY87" fmla="*/ 1744340 h 2323145"/>
              <a:gd name="connsiteX88" fmla="*/ 6380677 w 11269336"/>
              <a:gd name="connsiteY88" fmla="*/ 1796883 h 2323145"/>
              <a:gd name="connsiteX89" fmla="*/ 6374897 w 11269336"/>
              <a:gd name="connsiteY89" fmla="*/ 1809910 h 2323145"/>
              <a:gd name="connsiteX90" fmla="*/ 6364545 w 11269336"/>
              <a:gd name="connsiteY90" fmla="*/ 1820090 h 2323145"/>
              <a:gd name="connsiteX91" fmla="*/ 6362126 w 11269336"/>
              <a:gd name="connsiteY91" fmla="*/ 1819991 h 2323145"/>
              <a:gd name="connsiteX92" fmla="*/ 6346673 w 11269336"/>
              <a:gd name="connsiteY92" fmla="*/ 1827824 h 2323145"/>
              <a:gd name="connsiteX93" fmla="*/ 6345588 w 11269336"/>
              <a:gd name="connsiteY93" fmla="*/ 1832232 h 2323145"/>
              <a:gd name="connsiteX94" fmla="*/ 6335708 w 11269336"/>
              <a:gd name="connsiteY94" fmla="*/ 1838451 h 2323145"/>
              <a:gd name="connsiteX95" fmla="*/ 6318182 w 11269336"/>
              <a:gd name="connsiteY95" fmla="*/ 1852975 h 2323145"/>
              <a:gd name="connsiteX96" fmla="*/ 6313084 w 11269336"/>
              <a:gd name="connsiteY96" fmla="*/ 1853561 h 2323145"/>
              <a:gd name="connsiteX97" fmla="*/ 6283816 w 11269336"/>
              <a:gd name="connsiteY97" fmla="*/ 1872148 h 2323145"/>
              <a:gd name="connsiteX98" fmla="*/ 6282550 w 11269336"/>
              <a:gd name="connsiteY98" fmla="*/ 1871392 h 2323145"/>
              <a:gd name="connsiteX99" fmla="*/ 6270527 w 11269336"/>
              <a:gd name="connsiteY99" fmla="*/ 1872208 h 2323145"/>
              <a:gd name="connsiteX100" fmla="*/ 6249518 w 11269336"/>
              <a:gd name="connsiteY100" fmla="*/ 1876079 h 2323145"/>
              <a:gd name="connsiteX101" fmla="*/ 6190386 w 11269336"/>
              <a:gd name="connsiteY101" fmla="*/ 1872478 h 2323145"/>
              <a:gd name="connsiteX102" fmla="*/ 6159777 w 11269336"/>
              <a:gd name="connsiteY102" fmla="*/ 1891745 h 2323145"/>
              <a:gd name="connsiteX103" fmla="*/ 6153131 w 11269336"/>
              <a:gd name="connsiteY103" fmla="*/ 1895079 h 2323145"/>
              <a:gd name="connsiteX104" fmla="*/ 6152798 w 11269336"/>
              <a:gd name="connsiteY104" fmla="*/ 1894920 h 2323145"/>
              <a:gd name="connsiteX105" fmla="*/ 6145388 w 11269336"/>
              <a:gd name="connsiteY105" fmla="*/ 1897990 h 2323145"/>
              <a:gd name="connsiteX106" fmla="*/ 6141014 w 11269336"/>
              <a:gd name="connsiteY106" fmla="*/ 1901155 h 2323145"/>
              <a:gd name="connsiteX107" fmla="*/ 6128122 w 11269336"/>
              <a:gd name="connsiteY107" fmla="*/ 1907623 h 2323145"/>
              <a:gd name="connsiteX108" fmla="*/ 6122351 w 11269336"/>
              <a:gd name="connsiteY108" fmla="*/ 1908359 h 2323145"/>
              <a:gd name="connsiteX109" fmla="*/ 6064750 w 11269336"/>
              <a:gd name="connsiteY109" fmla="*/ 1896394 h 2323145"/>
              <a:gd name="connsiteX110" fmla="*/ 5964230 w 11269336"/>
              <a:gd name="connsiteY110" fmla="*/ 1910038 h 2323145"/>
              <a:gd name="connsiteX111" fmla="*/ 5865399 w 11269336"/>
              <a:gd name="connsiteY111" fmla="*/ 1926966 h 2323145"/>
              <a:gd name="connsiteX112" fmla="*/ 5829951 w 11269336"/>
              <a:gd name="connsiteY112" fmla="*/ 1934755 h 2323145"/>
              <a:gd name="connsiteX113" fmla="*/ 5765285 w 11269336"/>
              <a:gd name="connsiteY113" fmla="*/ 1941322 h 2323145"/>
              <a:gd name="connsiteX114" fmla="*/ 5734750 w 11269336"/>
              <a:gd name="connsiteY114" fmla="*/ 1939793 h 2323145"/>
              <a:gd name="connsiteX115" fmla="*/ 5733569 w 11269336"/>
              <a:gd name="connsiteY115" fmla="*/ 1940505 h 2323145"/>
              <a:gd name="connsiteX116" fmla="*/ 5730329 w 11269336"/>
              <a:gd name="connsiteY116" fmla="*/ 1937845 h 2323145"/>
              <a:gd name="connsiteX117" fmla="*/ 5724661 w 11269336"/>
              <a:gd name="connsiteY117" fmla="*/ 1937455 h 2323145"/>
              <a:gd name="connsiteX118" fmla="*/ 5710186 w 11269336"/>
              <a:gd name="connsiteY118" fmla="*/ 1941370 h 2323145"/>
              <a:gd name="connsiteX119" fmla="*/ 5704910 w 11269336"/>
              <a:gd name="connsiteY119" fmla="*/ 1943663 h 2323145"/>
              <a:gd name="connsiteX120" fmla="*/ 5696836 w 11269336"/>
              <a:gd name="connsiteY120" fmla="*/ 1945271 h 2323145"/>
              <a:gd name="connsiteX121" fmla="*/ 5696583 w 11269336"/>
              <a:gd name="connsiteY121" fmla="*/ 1945050 h 2323145"/>
              <a:gd name="connsiteX122" fmla="*/ 5689123 w 11269336"/>
              <a:gd name="connsiteY122" fmla="*/ 1947067 h 2323145"/>
              <a:gd name="connsiteX123" fmla="*/ 5653291 w 11269336"/>
              <a:gd name="connsiteY123" fmla="*/ 1960245 h 2323145"/>
              <a:gd name="connsiteX124" fmla="*/ 5599385 w 11269336"/>
              <a:gd name="connsiteY124" fmla="*/ 1945198 h 2323145"/>
              <a:gd name="connsiteX125" fmla="*/ 5578300 w 11269336"/>
              <a:gd name="connsiteY125" fmla="*/ 1944963 h 2323145"/>
              <a:gd name="connsiteX126" fmla="*/ 5566758 w 11269336"/>
              <a:gd name="connsiteY126" fmla="*/ 1943441 h 2323145"/>
              <a:gd name="connsiteX127" fmla="*/ 5565857 w 11269336"/>
              <a:gd name="connsiteY127" fmla="*/ 1942445 h 2323145"/>
              <a:gd name="connsiteX128" fmla="*/ 5531534 w 11269336"/>
              <a:gd name="connsiteY128" fmla="*/ 1955208 h 2323145"/>
              <a:gd name="connsiteX129" fmla="*/ 5526552 w 11269336"/>
              <a:gd name="connsiteY129" fmla="*/ 1954799 h 2323145"/>
              <a:gd name="connsiteX130" fmla="*/ 5504723 w 11269336"/>
              <a:gd name="connsiteY130" fmla="*/ 1965811 h 2323145"/>
              <a:gd name="connsiteX131" fmla="*/ 5493156 w 11269336"/>
              <a:gd name="connsiteY131" fmla="*/ 1970063 h 2323145"/>
              <a:gd name="connsiteX132" fmla="*/ 5490486 w 11269336"/>
              <a:gd name="connsiteY132" fmla="*/ 1974227 h 2323145"/>
              <a:gd name="connsiteX133" fmla="*/ 5473107 w 11269336"/>
              <a:gd name="connsiteY133" fmla="*/ 1979001 h 2323145"/>
              <a:gd name="connsiteX134" fmla="*/ 5470885 w 11269336"/>
              <a:gd name="connsiteY134" fmla="*/ 1978432 h 2323145"/>
              <a:gd name="connsiteX135" fmla="*/ 5457393 w 11269336"/>
              <a:gd name="connsiteY135" fmla="*/ 1986525 h 2323145"/>
              <a:gd name="connsiteX136" fmla="*/ 5447102 w 11269336"/>
              <a:gd name="connsiteY136" fmla="*/ 1998329 h 2323145"/>
              <a:gd name="connsiteX137" fmla="*/ 5159151 w 11269336"/>
              <a:gd name="connsiteY137" fmla="*/ 2029640 h 2323145"/>
              <a:gd name="connsiteX138" fmla="*/ 5041688 w 11269336"/>
              <a:gd name="connsiteY138" fmla="*/ 2022334 h 2323145"/>
              <a:gd name="connsiteX139" fmla="*/ 4860988 w 11269336"/>
              <a:gd name="connsiteY139" fmla="*/ 2135698 h 2323145"/>
              <a:gd name="connsiteX140" fmla="*/ 4807902 w 11269336"/>
              <a:gd name="connsiteY140" fmla="*/ 2138894 h 2323145"/>
              <a:gd name="connsiteX141" fmla="*/ 4765388 w 11269336"/>
              <a:gd name="connsiteY141" fmla="*/ 2162525 h 2323145"/>
              <a:gd name="connsiteX142" fmla="*/ 4745033 w 11269336"/>
              <a:gd name="connsiteY142" fmla="*/ 2158859 h 2323145"/>
              <a:gd name="connsiteX143" fmla="*/ 4741475 w 11269336"/>
              <a:gd name="connsiteY143" fmla="*/ 2157998 h 2323145"/>
              <a:gd name="connsiteX144" fmla="*/ 4728247 w 11269336"/>
              <a:gd name="connsiteY144" fmla="*/ 2159526 h 2323145"/>
              <a:gd name="connsiteX145" fmla="*/ 4723263 w 11269336"/>
              <a:gd name="connsiteY145" fmla="*/ 2153742 h 2323145"/>
              <a:gd name="connsiteX146" fmla="*/ 4702453 w 11269336"/>
              <a:gd name="connsiteY146" fmla="*/ 2151586 h 2323145"/>
              <a:gd name="connsiteX147" fmla="*/ 4678455 w 11269336"/>
              <a:gd name="connsiteY147" fmla="*/ 2156131 h 2323145"/>
              <a:gd name="connsiteX148" fmla="*/ 4593061 w 11269336"/>
              <a:gd name="connsiteY148" fmla="*/ 2171597 h 2323145"/>
              <a:gd name="connsiteX149" fmla="*/ 4579902 w 11269336"/>
              <a:gd name="connsiteY149" fmla="*/ 2177927 h 2323145"/>
              <a:gd name="connsiteX150" fmla="*/ 4533444 w 11269336"/>
              <a:gd name="connsiteY150" fmla="*/ 2181200 h 2323145"/>
              <a:gd name="connsiteX151" fmla="*/ 4492832 w 11269336"/>
              <a:gd name="connsiteY151" fmla="*/ 2188033 h 2323145"/>
              <a:gd name="connsiteX152" fmla="*/ 4467257 w 11269336"/>
              <a:gd name="connsiteY152" fmla="*/ 2196121 h 2323145"/>
              <a:gd name="connsiteX153" fmla="*/ 4459937 w 11269336"/>
              <a:gd name="connsiteY153" fmla="*/ 2195182 h 2323145"/>
              <a:gd name="connsiteX154" fmla="*/ 4433312 w 11269336"/>
              <a:gd name="connsiteY154" fmla="*/ 2199004 h 2323145"/>
              <a:gd name="connsiteX155" fmla="*/ 4420601 w 11269336"/>
              <a:gd name="connsiteY155" fmla="*/ 2205158 h 2323145"/>
              <a:gd name="connsiteX156" fmla="*/ 4405765 w 11269336"/>
              <a:gd name="connsiteY156" fmla="*/ 2199902 h 2323145"/>
              <a:gd name="connsiteX157" fmla="*/ 4401354 w 11269336"/>
              <a:gd name="connsiteY157" fmla="*/ 2194745 h 2323145"/>
              <a:gd name="connsiteX158" fmla="*/ 4383151 w 11269336"/>
              <a:gd name="connsiteY158" fmla="*/ 2201140 h 2323145"/>
              <a:gd name="connsiteX159" fmla="*/ 4366646 w 11269336"/>
              <a:gd name="connsiteY159" fmla="*/ 2198564 h 2323145"/>
              <a:gd name="connsiteX160" fmla="*/ 4354009 w 11269336"/>
              <a:gd name="connsiteY160" fmla="*/ 2204984 h 2323145"/>
              <a:gd name="connsiteX161" fmla="*/ 4348284 w 11269336"/>
              <a:gd name="connsiteY161" fmla="*/ 2205270 h 2323145"/>
              <a:gd name="connsiteX162" fmla="*/ 4333906 w 11269336"/>
              <a:gd name="connsiteY162" fmla="*/ 2205251 h 2323145"/>
              <a:gd name="connsiteX163" fmla="*/ 4308819 w 11269336"/>
              <a:gd name="connsiteY163" fmla="*/ 2203822 h 2323145"/>
              <a:gd name="connsiteX164" fmla="*/ 4301210 w 11269336"/>
              <a:gd name="connsiteY164" fmla="*/ 2204456 h 2323145"/>
              <a:gd name="connsiteX165" fmla="*/ 4283095 w 11269336"/>
              <a:gd name="connsiteY165" fmla="*/ 2198177 h 2323145"/>
              <a:gd name="connsiteX166" fmla="*/ 4250119 w 11269336"/>
              <a:gd name="connsiteY166" fmla="*/ 2196342 h 2323145"/>
              <a:gd name="connsiteX167" fmla="*/ 4189203 w 11269336"/>
              <a:gd name="connsiteY167" fmla="*/ 2178994 h 2323145"/>
              <a:gd name="connsiteX168" fmla="*/ 4154035 w 11269336"/>
              <a:gd name="connsiteY168" fmla="*/ 2171950 h 2323145"/>
              <a:gd name="connsiteX169" fmla="*/ 4129569 w 11269336"/>
              <a:gd name="connsiteY169" fmla="*/ 2163850 h 2323145"/>
              <a:gd name="connsiteX170" fmla="*/ 4061250 w 11269336"/>
              <a:gd name="connsiteY170" fmla="*/ 2159236 h 2323145"/>
              <a:gd name="connsiteX171" fmla="*/ 3945480 w 11269336"/>
              <a:gd name="connsiteY171" fmla="*/ 2158279 h 2323145"/>
              <a:gd name="connsiteX172" fmla="*/ 3921468 w 11269336"/>
              <a:gd name="connsiteY172" fmla="*/ 2156588 h 2323145"/>
              <a:gd name="connsiteX173" fmla="*/ 3903348 w 11269336"/>
              <a:gd name="connsiteY173" fmla="*/ 2149220 h 2323145"/>
              <a:gd name="connsiteX174" fmla="*/ 3901342 w 11269336"/>
              <a:gd name="connsiteY174" fmla="*/ 2142355 h 2323145"/>
              <a:gd name="connsiteX175" fmla="*/ 3888539 w 11269336"/>
              <a:gd name="connsiteY175" fmla="*/ 2140476 h 2323145"/>
              <a:gd name="connsiteX176" fmla="*/ 3885662 w 11269336"/>
              <a:gd name="connsiteY176" fmla="*/ 2138740 h 2323145"/>
              <a:gd name="connsiteX177" fmla="*/ 3868627 w 11269336"/>
              <a:gd name="connsiteY177" fmla="*/ 2130023 h 2323145"/>
              <a:gd name="connsiteX178" fmla="*/ 3819177 w 11269336"/>
              <a:gd name="connsiteY178" fmla="*/ 2142111 h 2323145"/>
              <a:gd name="connsiteX179" fmla="*/ 3769100 w 11269336"/>
              <a:gd name="connsiteY179" fmla="*/ 2131731 h 2323145"/>
              <a:gd name="connsiteX180" fmla="*/ 3562752 w 11269336"/>
              <a:gd name="connsiteY180" fmla="*/ 2131785 h 2323145"/>
              <a:gd name="connsiteX181" fmla="*/ 3541402 w 11269336"/>
              <a:gd name="connsiteY181" fmla="*/ 2106821 h 2323145"/>
              <a:gd name="connsiteX182" fmla="*/ 3365341 w 11269336"/>
              <a:gd name="connsiteY182" fmla="*/ 2077638 h 2323145"/>
              <a:gd name="connsiteX183" fmla="*/ 3170922 w 11269336"/>
              <a:gd name="connsiteY183" fmla="*/ 2115957 h 2323145"/>
              <a:gd name="connsiteX184" fmla="*/ 3156256 w 11269336"/>
              <a:gd name="connsiteY184" fmla="*/ 2124773 h 2323145"/>
              <a:gd name="connsiteX185" fmla="*/ 3140298 w 11269336"/>
              <a:gd name="connsiteY185" fmla="*/ 2129182 h 2323145"/>
              <a:gd name="connsiteX186" fmla="*/ 3138514 w 11269336"/>
              <a:gd name="connsiteY186" fmla="*/ 2128069 h 2323145"/>
              <a:gd name="connsiteX187" fmla="*/ 3120467 w 11269336"/>
              <a:gd name="connsiteY187" fmla="*/ 2128281 h 2323145"/>
              <a:gd name="connsiteX188" fmla="*/ 3116175 w 11269336"/>
              <a:gd name="connsiteY188" fmla="*/ 2131633 h 2323145"/>
              <a:gd name="connsiteX189" fmla="*/ 3103685 w 11269336"/>
              <a:gd name="connsiteY189" fmla="*/ 2132814 h 2323145"/>
              <a:gd name="connsiteX190" fmla="*/ 3078794 w 11269336"/>
              <a:gd name="connsiteY190" fmla="*/ 2137935 h 2323145"/>
              <a:gd name="connsiteX191" fmla="*/ 3074407 w 11269336"/>
              <a:gd name="connsiteY191" fmla="*/ 2136274 h 2323145"/>
              <a:gd name="connsiteX192" fmla="*/ 3037285 w 11269336"/>
              <a:gd name="connsiteY192" fmla="*/ 2139919 h 2323145"/>
              <a:gd name="connsiteX193" fmla="*/ 3036901 w 11269336"/>
              <a:gd name="connsiteY193" fmla="*/ 2138726 h 2323145"/>
              <a:gd name="connsiteX194" fmla="*/ 3026996 w 11269336"/>
              <a:gd name="connsiteY194" fmla="*/ 2134322 h 2323145"/>
              <a:gd name="connsiteX195" fmla="*/ 3007772 w 11269336"/>
              <a:gd name="connsiteY195" fmla="*/ 2128742 h 2323145"/>
              <a:gd name="connsiteX196" fmla="*/ 2965030 w 11269336"/>
              <a:gd name="connsiteY196" fmla="*/ 2100494 h 2323145"/>
              <a:gd name="connsiteX197" fmla="*/ 2926342 w 11269336"/>
              <a:gd name="connsiteY197" fmla="*/ 2104155 h 2323145"/>
              <a:gd name="connsiteX198" fmla="*/ 2918608 w 11269336"/>
              <a:gd name="connsiteY198" fmla="*/ 2104215 h 2323145"/>
              <a:gd name="connsiteX199" fmla="*/ 2918475 w 11269336"/>
              <a:gd name="connsiteY199" fmla="*/ 2103937 h 2323145"/>
              <a:gd name="connsiteX200" fmla="*/ 2910360 w 11269336"/>
              <a:gd name="connsiteY200" fmla="*/ 2103444 h 2323145"/>
              <a:gd name="connsiteX201" fmla="*/ 2904507 w 11269336"/>
              <a:gd name="connsiteY201" fmla="*/ 2104326 h 2323145"/>
              <a:gd name="connsiteX202" fmla="*/ 2889503 w 11269336"/>
              <a:gd name="connsiteY202" fmla="*/ 2104443 h 2323145"/>
              <a:gd name="connsiteX203" fmla="*/ 2884480 w 11269336"/>
              <a:gd name="connsiteY203" fmla="*/ 2102626 h 2323145"/>
              <a:gd name="connsiteX204" fmla="*/ 2882689 w 11269336"/>
              <a:gd name="connsiteY204" fmla="*/ 2099228 h 2323145"/>
              <a:gd name="connsiteX205" fmla="*/ 2881291 w 11269336"/>
              <a:gd name="connsiteY205" fmla="*/ 2099618 h 2323145"/>
              <a:gd name="connsiteX206" fmla="*/ 2853979 w 11269336"/>
              <a:gd name="connsiteY206" fmla="*/ 2090388 h 2323145"/>
              <a:gd name="connsiteX207" fmla="*/ 2791790 w 11269336"/>
              <a:gd name="connsiteY207" fmla="*/ 2080332 h 2323145"/>
              <a:gd name="connsiteX208" fmla="*/ 2755844 w 11269336"/>
              <a:gd name="connsiteY208" fmla="*/ 2078874 h 2323145"/>
              <a:gd name="connsiteX209" fmla="*/ 2657742 w 11269336"/>
              <a:gd name="connsiteY209" fmla="*/ 2070179 h 2323145"/>
              <a:gd name="connsiteX210" fmla="*/ 2559549 w 11269336"/>
              <a:gd name="connsiteY210" fmla="*/ 2057873 h 2323145"/>
              <a:gd name="connsiteX211" fmla="*/ 2512054 w 11269336"/>
              <a:gd name="connsiteY211" fmla="*/ 2031671 h 2323145"/>
              <a:gd name="connsiteX212" fmla="*/ 2506437 w 11269336"/>
              <a:gd name="connsiteY212" fmla="*/ 2030918 h 2323145"/>
              <a:gd name="connsiteX213" fmla="*/ 2491752 w 11269336"/>
              <a:gd name="connsiteY213" fmla="*/ 2033906 h 2323145"/>
              <a:gd name="connsiteX214" fmla="*/ 2486338 w 11269336"/>
              <a:gd name="connsiteY214" fmla="*/ 2035862 h 2323145"/>
              <a:gd name="connsiteX215" fmla="*/ 2478186 w 11269336"/>
              <a:gd name="connsiteY215" fmla="*/ 2036953 h 2323145"/>
              <a:gd name="connsiteX216" fmla="*/ 2477950 w 11269336"/>
              <a:gd name="connsiteY216" fmla="*/ 2036715 h 2323145"/>
              <a:gd name="connsiteX217" fmla="*/ 2470381 w 11269336"/>
              <a:gd name="connsiteY217" fmla="*/ 2038256 h 2323145"/>
              <a:gd name="connsiteX218" fmla="*/ 2433781 w 11269336"/>
              <a:gd name="connsiteY218" fmla="*/ 2049140 h 2323145"/>
              <a:gd name="connsiteX219" fmla="*/ 2381172 w 11269336"/>
              <a:gd name="connsiteY219" fmla="*/ 2030645 h 2323145"/>
              <a:gd name="connsiteX220" fmla="*/ 2360198 w 11269336"/>
              <a:gd name="connsiteY220" fmla="*/ 2029059 h 2323145"/>
              <a:gd name="connsiteX221" fmla="*/ 2348815 w 11269336"/>
              <a:gd name="connsiteY221" fmla="*/ 2026798 h 2323145"/>
              <a:gd name="connsiteX222" fmla="*/ 2347988 w 11269336"/>
              <a:gd name="connsiteY222" fmla="*/ 2025745 h 2323145"/>
              <a:gd name="connsiteX223" fmla="*/ 2312920 w 11269336"/>
              <a:gd name="connsiteY223" fmla="*/ 2036311 h 2323145"/>
              <a:gd name="connsiteX224" fmla="*/ 2307986 w 11269336"/>
              <a:gd name="connsiteY224" fmla="*/ 2035583 h 2323145"/>
              <a:gd name="connsiteX225" fmla="*/ 2285481 w 11269336"/>
              <a:gd name="connsiteY225" fmla="*/ 2045197 h 2323145"/>
              <a:gd name="connsiteX226" fmla="*/ 2273666 w 11269336"/>
              <a:gd name="connsiteY226" fmla="*/ 2048710 h 2323145"/>
              <a:gd name="connsiteX227" fmla="*/ 2270719 w 11269336"/>
              <a:gd name="connsiteY227" fmla="*/ 2052702 h 2323145"/>
              <a:gd name="connsiteX228" fmla="*/ 2253080 w 11269336"/>
              <a:gd name="connsiteY228" fmla="*/ 2056363 h 2323145"/>
              <a:gd name="connsiteX229" fmla="*/ 2250906 w 11269336"/>
              <a:gd name="connsiteY229" fmla="*/ 2055654 h 2323145"/>
              <a:gd name="connsiteX230" fmla="*/ 2236905 w 11269336"/>
              <a:gd name="connsiteY230" fmla="*/ 2062882 h 2323145"/>
              <a:gd name="connsiteX231" fmla="*/ 2225830 w 11269336"/>
              <a:gd name="connsiteY231" fmla="*/ 2074027 h 2323145"/>
              <a:gd name="connsiteX232" fmla="*/ 2073776 w 11269336"/>
              <a:gd name="connsiteY232" fmla="*/ 2089244 h 2323145"/>
              <a:gd name="connsiteX233" fmla="*/ 1948256 w 11269336"/>
              <a:gd name="connsiteY233" fmla="*/ 2146616 h 2323145"/>
              <a:gd name="connsiteX234" fmla="*/ 1865582 w 11269336"/>
              <a:gd name="connsiteY234" fmla="*/ 2153738 h 2323145"/>
              <a:gd name="connsiteX235" fmla="*/ 1835210 w 11269336"/>
              <a:gd name="connsiteY235" fmla="*/ 2134244 h 2323145"/>
              <a:gd name="connsiteX236" fmla="*/ 1632661 w 11269336"/>
              <a:gd name="connsiteY236" fmla="*/ 2173882 h 2323145"/>
              <a:gd name="connsiteX237" fmla="*/ 1579590 w 11269336"/>
              <a:gd name="connsiteY237" fmla="*/ 2173680 h 2323145"/>
              <a:gd name="connsiteX238" fmla="*/ 1535601 w 11269336"/>
              <a:gd name="connsiteY238" fmla="*/ 2194590 h 2323145"/>
              <a:gd name="connsiteX239" fmla="*/ 1515594 w 11269336"/>
              <a:gd name="connsiteY239" fmla="*/ 2189622 h 2323145"/>
              <a:gd name="connsiteX240" fmla="*/ 1512113 w 11269336"/>
              <a:gd name="connsiteY240" fmla="*/ 2188534 h 2323145"/>
              <a:gd name="connsiteX241" fmla="*/ 1498838 w 11269336"/>
              <a:gd name="connsiteY241" fmla="*/ 2189213 h 2323145"/>
              <a:gd name="connsiteX242" fmla="*/ 1494279 w 11269336"/>
              <a:gd name="connsiteY242" fmla="*/ 2183112 h 2323145"/>
              <a:gd name="connsiteX243" fmla="*/ 1473714 w 11269336"/>
              <a:gd name="connsiteY243" fmla="*/ 2179625 h 2323145"/>
              <a:gd name="connsiteX244" fmla="*/ 1449503 w 11269336"/>
              <a:gd name="connsiteY244" fmla="*/ 2182633 h 2323145"/>
              <a:gd name="connsiteX245" fmla="*/ 1266687 w 11269336"/>
              <a:gd name="connsiteY245" fmla="*/ 2212688 h 2323145"/>
              <a:gd name="connsiteX246" fmla="*/ 1239614 w 11269336"/>
              <a:gd name="connsiteY246" fmla="*/ 2209727 h 2323145"/>
              <a:gd name="connsiteX247" fmla="*/ 1202436 w 11269336"/>
              <a:gd name="connsiteY247" fmla="*/ 2209817 h 2323145"/>
              <a:gd name="connsiteX248" fmla="*/ 1136097 w 11269336"/>
              <a:gd name="connsiteY248" fmla="*/ 2205112 h 2323145"/>
              <a:gd name="connsiteX249" fmla="*/ 988232 w 11269336"/>
              <a:gd name="connsiteY249" fmla="*/ 2235635 h 2323145"/>
              <a:gd name="connsiteX250" fmla="*/ 981959 w 11269336"/>
              <a:gd name="connsiteY250" fmla="*/ 2231607 h 2323145"/>
              <a:gd name="connsiteX251" fmla="*/ 938600 w 11269336"/>
              <a:gd name="connsiteY251" fmla="*/ 2238113 h 2323145"/>
              <a:gd name="connsiteX252" fmla="*/ 791788 w 11269336"/>
              <a:gd name="connsiteY252" fmla="*/ 2293224 h 2323145"/>
              <a:gd name="connsiteX253" fmla="*/ 706914 w 11269336"/>
              <a:gd name="connsiteY253" fmla="*/ 2305046 h 2323145"/>
              <a:gd name="connsiteX254" fmla="*/ 675971 w 11269336"/>
              <a:gd name="connsiteY254" fmla="*/ 2304030 h 2323145"/>
              <a:gd name="connsiteX255" fmla="*/ 624180 w 11269336"/>
              <a:gd name="connsiteY255" fmla="*/ 2302650 h 2323145"/>
              <a:gd name="connsiteX256" fmla="*/ 583453 w 11269336"/>
              <a:gd name="connsiteY256" fmla="*/ 2288788 h 2323145"/>
              <a:gd name="connsiteX257" fmla="*/ 540946 w 11269336"/>
              <a:gd name="connsiteY257" fmla="*/ 2292721 h 2323145"/>
              <a:gd name="connsiteX258" fmla="*/ 533680 w 11269336"/>
              <a:gd name="connsiteY258" fmla="*/ 2310233 h 2323145"/>
              <a:gd name="connsiteX259" fmla="*/ 487366 w 11269336"/>
              <a:gd name="connsiteY259" fmla="*/ 2309053 h 2323145"/>
              <a:gd name="connsiteX260" fmla="*/ 416820 w 11269336"/>
              <a:gd name="connsiteY260" fmla="*/ 2305443 h 2323145"/>
              <a:gd name="connsiteX261" fmla="*/ 376805 w 11269336"/>
              <a:gd name="connsiteY261" fmla="*/ 2307647 h 2323145"/>
              <a:gd name="connsiteX262" fmla="*/ 266777 w 11269336"/>
              <a:gd name="connsiteY262" fmla="*/ 2309012 h 2323145"/>
              <a:gd name="connsiteX263" fmla="*/ 156013 w 11269336"/>
              <a:gd name="connsiteY263" fmla="*/ 2306832 h 2323145"/>
              <a:gd name="connsiteX264" fmla="*/ 87258 w 11269336"/>
              <a:gd name="connsiteY264" fmla="*/ 2285511 h 2323145"/>
              <a:gd name="connsiteX265" fmla="*/ 23798 w 11269336"/>
              <a:gd name="connsiteY265" fmla="*/ 2281822 h 2323145"/>
              <a:gd name="connsiteX266" fmla="*/ 0 w 11269336"/>
              <a:gd name="connsiteY266" fmla="*/ 2285369 h 2323145"/>
              <a:gd name="connsiteX267" fmla="*/ 0 w 11269336"/>
              <a:gd name="connsiteY267"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742561 w 11269336"/>
              <a:gd name="connsiteY18" fmla="*/ 500437 h 2323145"/>
              <a:gd name="connsiteX19" fmla="*/ 9380600 w 11269336"/>
              <a:gd name="connsiteY19" fmla="*/ 549821 h 2323145"/>
              <a:gd name="connsiteX20" fmla="*/ 9139429 w 11269336"/>
              <a:gd name="connsiteY20" fmla="*/ 696446 h 2323145"/>
              <a:gd name="connsiteX21" fmla="*/ 9114263 w 11269336"/>
              <a:gd name="connsiteY21" fmla="*/ 709213 h 2323145"/>
              <a:gd name="connsiteX22" fmla="*/ 9028928 w 11269336"/>
              <a:gd name="connsiteY22" fmla="*/ 745350 h 2323145"/>
              <a:gd name="connsiteX23" fmla="*/ 8977138 w 11269336"/>
              <a:gd name="connsiteY23" fmla="*/ 774970 h 2323145"/>
              <a:gd name="connsiteX24" fmla="*/ 8947030 w 11269336"/>
              <a:gd name="connsiteY24" fmla="*/ 814934 h 2323145"/>
              <a:gd name="connsiteX25" fmla="*/ 8914746 w 11269336"/>
              <a:gd name="connsiteY25" fmla="*/ 826428 h 2323145"/>
              <a:gd name="connsiteX26" fmla="*/ 8917778 w 11269336"/>
              <a:gd name="connsiteY26" fmla="*/ 835198 h 2323145"/>
              <a:gd name="connsiteX27" fmla="*/ 8905560 w 11269336"/>
              <a:gd name="connsiteY27" fmla="*/ 838358 h 2323145"/>
              <a:gd name="connsiteX28" fmla="*/ 8897564 w 11269336"/>
              <a:gd name="connsiteY28" fmla="*/ 834287 h 2323145"/>
              <a:gd name="connsiteX29" fmla="*/ 8878040 w 11269336"/>
              <a:gd name="connsiteY29" fmla="*/ 844150 h 2323145"/>
              <a:gd name="connsiteX30" fmla="*/ 8882654 w 11269336"/>
              <a:gd name="connsiteY30" fmla="*/ 892768 h 2323145"/>
              <a:gd name="connsiteX31" fmla="*/ 8795998 w 11269336"/>
              <a:gd name="connsiteY31" fmla="*/ 863337 h 2323145"/>
              <a:gd name="connsiteX32" fmla="*/ 8776970 w 11269336"/>
              <a:gd name="connsiteY32" fmla="*/ 885177 h 2323145"/>
              <a:gd name="connsiteX33" fmla="*/ 8755719 w 11269336"/>
              <a:gd name="connsiteY33" fmla="*/ 889754 h 2323145"/>
              <a:gd name="connsiteX34" fmla="*/ 8743257 w 11269336"/>
              <a:gd name="connsiteY34" fmla="*/ 904723 h 2323145"/>
              <a:gd name="connsiteX35" fmla="*/ 8721366 w 11269336"/>
              <a:gd name="connsiteY35" fmla="*/ 904711 h 2323145"/>
              <a:gd name="connsiteX36" fmla="*/ 8678353 w 11269336"/>
              <a:gd name="connsiteY36" fmla="*/ 926318 h 2323145"/>
              <a:gd name="connsiteX37" fmla="*/ 8636849 w 11269336"/>
              <a:gd name="connsiteY37" fmla="*/ 937900 h 2323145"/>
              <a:gd name="connsiteX38" fmla="*/ 8620213 w 11269336"/>
              <a:gd name="connsiteY38" fmla="*/ 943068 h 2323145"/>
              <a:gd name="connsiteX39" fmla="*/ 8612581 w 11269336"/>
              <a:gd name="connsiteY39" fmla="*/ 952695 h 2323145"/>
              <a:gd name="connsiteX40" fmla="*/ 8589038 w 11269336"/>
              <a:gd name="connsiteY40" fmla="*/ 963892 h 2323145"/>
              <a:gd name="connsiteX41" fmla="*/ 8579950 w 11269336"/>
              <a:gd name="connsiteY41" fmla="*/ 960899 h 2323145"/>
              <a:gd name="connsiteX42" fmla="*/ 8579319 w 11269336"/>
              <a:gd name="connsiteY42" fmla="*/ 965630 h 2323145"/>
              <a:gd name="connsiteX43" fmla="*/ 8547429 w 11269336"/>
              <a:gd name="connsiteY43" fmla="*/ 984506 h 2323145"/>
              <a:gd name="connsiteX44" fmla="*/ 8478704 w 11269336"/>
              <a:gd name="connsiteY44" fmla="*/ 1025490 h 2323145"/>
              <a:gd name="connsiteX45" fmla="*/ 8461421 w 11269336"/>
              <a:gd name="connsiteY45" fmla="*/ 1035512 h 2323145"/>
              <a:gd name="connsiteX46" fmla="*/ 8445003 w 11269336"/>
              <a:gd name="connsiteY46" fmla="*/ 1036851 h 2323145"/>
              <a:gd name="connsiteX47" fmla="*/ 8357350 w 11269336"/>
              <a:gd name="connsiteY47" fmla="*/ 1060213 h 2323145"/>
              <a:gd name="connsiteX48" fmla="*/ 8335565 w 11269336"/>
              <a:gd name="connsiteY48" fmla="*/ 1061151 h 2323145"/>
              <a:gd name="connsiteX49" fmla="*/ 8325267 w 11269336"/>
              <a:gd name="connsiteY49" fmla="*/ 1055919 h 2323145"/>
              <a:gd name="connsiteX50" fmla="*/ 8293586 w 11269336"/>
              <a:gd name="connsiteY50" fmla="*/ 1076144 h 2323145"/>
              <a:gd name="connsiteX51" fmla="*/ 8242405 w 11269336"/>
              <a:gd name="connsiteY51" fmla="*/ 1095960 h 2323145"/>
              <a:gd name="connsiteX52" fmla="*/ 8197391 w 11269336"/>
              <a:gd name="connsiteY52" fmla="*/ 1107746 h 2323145"/>
              <a:gd name="connsiteX53" fmla="*/ 8081474 w 11269336"/>
              <a:gd name="connsiteY53" fmla="*/ 1130125 h 2323145"/>
              <a:gd name="connsiteX54" fmla="*/ 8053585 w 11269336"/>
              <a:gd name="connsiteY54" fmla="*/ 1129169 h 2323145"/>
              <a:gd name="connsiteX55" fmla="*/ 8038422 w 11269336"/>
              <a:gd name="connsiteY55" fmla="*/ 1119092 h 2323145"/>
              <a:gd name="connsiteX56" fmla="*/ 8029450 w 11269336"/>
              <a:gd name="connsiteY56" fmla="*/ 1125592 h 2323145"/>
              <a:gd name="connsiteX57" fmla="*/ 7959552 w 11269336"/>
              <a:gd name="connsiteY57" fmla="*/ 1140188 h 2323145"/>
              <a:gd name="connsiteX58" fmla="*/ 7914188 w 11269336"/>
              <a:gd name="connsiteY58" fmla="*/ 1150862 h 2323145"/>
              <a:gd name="connsiteX59" fmla="*/ 7914918 w 11269336"/>
              <a:gd name="connsiteY59" fmla="*/ 1168758 h 2323145"/>
              <a:gd name="connsiteX60" fmla="*/ 7875510 w 11269336"/>
              <a:gd name="connsiteY60" fmla="*/ 1183153 h 2323145"/>
              <a:gd name="connsiteX61" fmla="*/ 7829932 w 11269336"/>
              <a:gd name="connsiteY61" fmla="*/ 1180782 h 2323145"/>
              <a:gd name="connsiteX62" fmla="*/ 7779182 w 11269336"/>
              <a:gd name="connsiteY62" fmla="*/ 1192665 h 2323145"/>
              <a:gd name="connsiteX63" fmla="*/ 7748774 w 11269336"/>
              <a:gd name="connsiteY63" fmla="*/ 1199586 h 2323145"/>
              <a:gd name="connsiteX64" fmla="*/ 7671846 w 11269336"/>
              <a:gd name="connsiteY64" fmla="*/ 1231966 h 2323145"/>
              <a:gd name="connsiteX65" fmla="*/ 7554146 w 11269336"/>
              <a:gd name="connsiteY65" fmla="*/ 1319748 h 2323145"/>
              <a:gd name="connsiteX66" fmla="*/ 7515052 w 11269336"/>
              <a:gd name="connsiteY66" fmla="*/ 1336718 h 2323145"/>
              <a:gd name="connsiteX67" fmla="*/ 7507193 w 11269336"/>
              <a:gd name="connsiteY67" fmla="*/ 1334617 h 2323145"/>
              <a:gd name="connsiteX68" fmla="*/ 7461694 w 11269336"/>
              <a:gd name="connsiteY68" fmla="*/ 1375866 h 2323145"/>
              <a:gd name="connsiteX69" fmla="*/ 7377571 w 11269336"/>
              <a:gd name="connsiteY69" fmla="*/ 1400128 h 2323145"/>
              <a:gd name="connsiteX70" fmla="*/ 7311261 w 11269336"/>
              <a:gd name="connsiteY70" fmla="*/ 1412652 h 2323145"/>
              <a:gd name="connsiteX71" fmla="*/ 7275307 w 11269336"/>
              <a:gd name="connsiteY71" fmla="*/ 1422171 h 2323145"/>
              <a:gd name="connsiteX72" fmla="*/ 7247783 w 11269336"/>
              <a:gd name="connsiteY72" fmla="*/ 1426330 h 2323145"/>
              <a:gd name="connsiteX73" fmla="*/ 7185047 w 11269336"/>
              <a:gd name="connsiteY73" fmla="*/ 1451812 h 2323145"/>
              <a:gd name="connsiteX74" fmla="*/ 7084117 w 11269336"/>
              <a:gd name="connsiteY74" fmla="*/ 1500281 h 2323145"/>
              <a:gd name="connsiteX75" fmla="*/ 7062011 w 11269336"/>
              <a:gd name="connsiteY75" fmla="*/ 1509183 h 2323145"/>
              <a:gd name="connsiteX76" fmla="*/ 7040555 w 11269336"/>
              <a:gd name="connsiteY76" fmla="*/ 1511207 h 2323145"/>
              <a:gd name="connsiteX77" fmla="*/ 7033438 w 11269336"/>
              <a:gd name="connsiteY77" fmla="*/ 1506772 h 2323145"/>
              <a:gd name="connsiteX78" fmla="*/ 7020886 w 11269336"/>
              <a:gd name="connsiteY78" fmla="*/ 1510764 h 2323145"/>
              <a:gd name="connsiteX79" fmla="*/ 7017033 w 11269336"/>
              <a:gd name="connsiteY79" fmla="*/ 1510650 h 2323145"/>
              <a:gd name="connsiteX80" fmla="*/ 6995460 w 11269336"/>
              <a:gd name="connsiteY80" fmla="*/ 1511173 h 2323145"/>
              <a:gd name="connsiteX81" fmla="*/ 6962144 w 11269336"/>
              <a:gd name="connsiteY81" fmla="*/ 1541508 h 2323145"/>
              <a:gd name="connsiteX82" fmla="*/ 6910674 w 11269336"/>
              <a:gd name="connsiteY82" fmla="*/ 1554793 h 2323145"/>
              <a:gd name="connsiteX83" fmla="*/ 6732152 w 11269336"/>
              <a:gd name="connsiteY83" fmla="*/ 1642538 h 2323145"/>
              <a:gd name="connsiteX84" fmla="*/ 6694106 w 11269336"/>
              <a:gd name="connsiteY84" fmla="*/ 1632377 h 2323145"/>
              <a:gd name="connsiteX85" fmla="*/ 6617223 w 11269336"/>
              <a:gd name="connsiteY85" fmla="*/ 1659889 h 2323145"/>
              <a:gd name="connsiteX86" fmla="*/ 6521138 w 11269336"/>
              <a:gd name="connsiteY86" fmla="*/ 1744340 h 2323145"/>
              <a:gd name="connsiteX87" fmla="*/ 6380677 w 11269336"/>
              <a:gd name="connsiteY87" fmla="*/ 1796883 h 2323145"/>
              <a:gd name="connsiteX88" fmla="*/ 6374897 w 11269336"/>
              <a:gd name="connsiteY88" fmla="*/ 1809910 h 2323145"/>
              <a:gd name="connsiteX89" fmla="*/ 6364545 w 11269336"/>
              <a:gd name="connsiteY89" fmla="*/ 1820090 h 2323145"/>
              <a:gd name="connsiteX90" fmla="*/ 6362126 w 11269336"/>
              <a:gd name="connsiteY90" fmla="*/ 1819991 h 2323145"/>
              <a:gd name="connsiteX91" fmla="*/ 6346673 w 11269336"/>
              <a:gd name="connsiteY91" fmla="*/ 1827824 h 2323145"/>
              <a:gd name="connsiteX92" fmla="*/ 6345588 w 11269336"/>
              <a:gd name="connsiteY92" fmla="*/ 1832232 h 2323145"/>
              <a:gd name="connsiteX93" fmla="*/ 6335708 w 11269336"/>
              <a:gd name="connsiteY93" fmla="*/ 1838451 h 2323145"/>
              <a:gd name="connsiteX94" fmla="*/ 6318182 w 11269336"/>
              <a:gd name="connsiteY94" fmla="*/ 1852975 h 2323145"/>
              <a:gd name="connsiteX95" fmla="*/ 6313084 w 11269336"/>
              <a:gd name="connsiteY95" fmla="*/ 1853561 h 2323145"/>
              <a:gd name="connsiteX96" fmla="*/ 6283816 w 11269336"/>
              <a:gd name="connsiteY96" fmla="*/ 1872148 h 2323145"/>
              <a:gd name="connsiteX97" fmla="*/ 6282550 w 11269336"/>
              <a:gd name="connsiteY97" fmla="*/ 1871392 h 2323145"/>
              <a:gd name="connsiteX98" fmla="*/ 6270527 w 11269336"/>
              <a:gd name="connsiteY98" fmla="*/ 1872208 h 2323145"/>
              <a:gd name="connsiteX99" fmla="*/ 6249518 w 11269336"/>
              <a:gd name="connsiteY99" fmla="*/ 1876079 h 2323145"/>
              <a:gd name="connsiteX100" fmla="*/ 6190386 w 11269336"/>
              <a:gd name="connsiteY100" fmla="*/ 1872478 h 2323145"/>
              <a:gd name="connsiteX101" fmla="*/ 6159777 w 11269336"/>
              <a:gd name="connsiteY101" fmla="*/ 1891745 h 2323145"/>
              <a:gd name="connsiteX102" fmla="*/ 6153131 w 11269336"/>
              <a:gd name="connsiteY102" fmla="*/ 1895079 h 2323145"/>
              <a:gd name="connsiteX103" fmla="*/ 6152798 w 11269336"/>
              <a:gd name="connsiteY103" fmla="*/ 1894920 h 2323145"/>
              <a:gd name="connsiteX104" fmla="*/ 6145388 w 11269336"/>
              <a:gd name="connsiteY104" fmla="*/ 1897990 h 2323145"/>
              <a:gd name="connsiteX105" fmla="*/ 6141014 w 11269336"/>
              <a:gd name="connsiteY105" fmla="*/ 1901155 h 2323145"/>
              <a:gd name="connsiteX106" fmla="*/ 6128122 w 11269336"/>
              <a:gd name="connsiteY106" fmla="*/ 1907623 h 2323145"/>
              <a:gd name="connsiteX107" fmla="*/ 6122351 w 11269336"/>
              <a:gd name="connsiteY107" fmla="*/ 1908359 h 2323145"/>
              <a:gd name="connsiteX108" fmla="*/ 6064750 w 11269336"/>
              <a:gd name="connsiteY108" fmla="*/ 1896394 h 2323145"/>
              <a:gd name="connsiteX109" fmla="*/ 5964230 w 11269336"/>
              <a:gd name="connsiteY109" fmla="*/ 1910038 h 2323145"/>
              <a:gd name="connsiteX110" fmla="*/ 5865399 w 11269336"/>
              <a:gd name="connsiteY110" fmla="*/ 1926966 h 2323145"/>
              <a:gd name="connsiteX111" fmla="*/ 5829951 w 11269336"/>
              <a:gd name="connsiteY111" fmla="*/ 1934755 h 2323145"/>
              <a:gd name="connsiteX112" fmla="*/ 5765285 w 11269336"/>
              <a:gd name="connsiteY112" fmla="*/ 1941322 h 2323145"/>
              <a:gd name="connsiteX113" fmla="*/ 5734750 w 11269336"/>
              <a:gd name="connsiteY113" fmla="*/ 1939793 h 2323145"/>
              <a:gd name="connsiteX114" fmla="*/ 5733569 w 11269336"/>
              <a:gd name="connsiteY114" fmla="*/ 1940505 h 2323145"/>
              <a:gd name="connsiteX115" fmla="*/ 5730329 w 11269336"/>
              <a:gd name="connsiteY115" fmla="*/ 1937845 h 2323145"/>
              <a:gd name="connsiteX116" fmla="*/ 5724661 w 11269336"/>
              <a:gd name="connsiteY116" fmla="*/ 1937455 h 2323145"/>
              <a:gd name="connsiteX117" fmla="*/ 5710186 w 11269336"/>
              <a:gd name="connsiteY117" fmla="*/ 1941370 h 2323145"/>
              <a:gd name="connsiteX118" fmla="*/ 5704910 w 11269336"/>
              <a:gd name="connsiteY118" fmla="*/ 1943663 h 2323145"/>
              <a:gd name="connsiteX119" fmla="*/ 5696836 w 11269336"/>
              <a:gd name="connsiteY119" fmla="*/ 1945271 h 2323145"/>
              <a:gd name="connsiteX120" fmla="*/ 5696583 w 11269336"/>
              <a:gd name="connsiteY120" fmla="*/ 1945050 h 2323145"/>
              <a:gd name="connsiteX121" fmla="*/ 5689123 w 11269336"/>
              <a:gd name="connsiteY121" fmla="*/ 1947067 h 2323145"/>
              <a:gd name="connsiteX122" fmla="*/ 5653291 w 11269336"/>
              <a:gd name="connsiteY122" fmla="*/ 1960245 h 2323145"/>
              <a:gd name="connsiteX123" fmla="*/ 5599385 w 11269336"/>
              <a:gd name="connsiteY123" fmla="*/ 1945198 h 2323145"/>
              <a:gd name="connsiteX124" fmla="*/ 5578300 w 11269336"/>
              <a:gd name="connsiteY124" fmla="*/ 1944963 h 2323145"/>
              <a:gd name="connsiteX125" fmla="*/ 5566758 w 11269336"/>
              <a:gd name="connsiteY125" fmla="*/ 1943441 h 2323145"/>
              <a:gd name="connsiteX126" fmla="*/ 5565857 w 11269336"/>
              <a:gd name="connsiteY126" fmla="*/ 1942445 h 2323145"/>
              <a:gd name="connsiteX127" fmla="*/ 5531534 w 11269336"/>
              <a:gd name="connsiteY127" fmla="*/ 1955208 h 2323145"/>
              <a:gd name="connsiteX128" fmla="*/ 5526552 w 11269336"/>
              <a:gd name="connsiteY128" fmla="*/ 1954799 h 2323145"/>
              <a:gd name="connsiteX129" fmla="*/ 5504723 w 11269336"/>
              <a:gd name="connsiteY129" fmla="*/ 1965811 h 2323145"/>
              <a:gd name="connsiteX130" fmla="*/ 5493156 w 11269336"/>
              <a:gd name="connsiteY130" fmla="*/ 1970063 h 2323145"/>
              <a:gd name="connsiteX131" fmla="*/ 5490486 w 11269336"/>
              <a:gd name="connsiteY131" fmla="*/ 1974227 h 2323145"/>
              <a:gd name="connsiteX132" fmla="*/ 5473107 w 11269336"/>
              <a:gd name="connsiteY132" fmla="*/ 1979001 h 2323145"/>
              <a:gd name="connsiteX133" fmla="*/ 5470885 w 11269336"/>
              <a:gd name="connsiteY133" fmla="*/ 1978432 h 2323145"/>
              <a:gd name="connsiteX134" fmla="*/ 5457393 w 11269336"/>
              <a:gd name="connsiteY134" fmla="*/ 1986525 h 2323145"/>
              <a:gd name="connsiteX135" fmla="*/ 5447102 w 11269336"/>
              <a:gd name="connsiteY135" fmla="*/ 1998329 h 2323145"/>
              <a:gd name="connsiteX136" fmla="*/ 5159151 w 11269336"/>
              <a:gd name="connsiteY136" fmla="*/ 2029640 h 2323145"/>
              <a:gd name="connsiteX137" fmla="*/ 5041688 w 11269336"/>
              <a:gd name="connsiteY137" fmla="*/ 2022334 h 2323145"/>
              <a:gd name="connsiteX138" fmla="*/ 4860988 w 11269336"/>
              <a:gd name="connsiteY138" fmla="*/ 2135698 h 2323145"/>
              <a:gd name="connsiteX139" fmla="*/ 4807902 w 11269336"/>
              <a:gd name="connsiteY139" fmla="*/ 2138894 h 2323145"/>
              <a:gd name="connsiteX140" fmla="*/ 4765388 w 11269336"/>
              <a:gd name="connsiteY140" fmla="*/ 2162525 h 2323145"/>
              <a:gd name="connsiteX141" fmla="*/ 4745033 w 11269336"/>
              <a:gd name="connsiteY141" fmla="*/ 2158859 h 2323145"/>
              <a:gd name="connsiteX142" fmla="*/ 4741475 w 11269336"/>
              <a:gd name="connsiteY142" fmla="*/ 2157998 h 2323145"/>
              <a:gd name="connsiteX143" fmla="*/ 4728247 w 11269336"/>
              <a:gd name="connsiteY143" fmla="*/ 2159526 h 2323145"/>
              <a:gd name="connsiteX144" fmla="*/ 4723263 w 11269336"/>
              <a:gd name="connsiteY144" fmla="*/ 2153742 h 2323145"/>
              <a:gd name="connsiteX145" fmla="*/ 4702453 w 11269336"/>
              <a:gd name="connsiteY145" fmla="*/ 2151586 h 2323145"/>
              <a:gd name="connsiteX146" fmla="*/ 4678455 w 11269336"/>
              <a:gd name="connsiteY146" fmla="*/ 2156131 h 2323145"/>
              <a:gd name="connsiteX147" fmla="*/ 4593061 w 11269336"/>
              <a:gd name="connsiteY147" fmla="*/ 2171597 h 2323145"/>
              <a:gd name="connsiteX148" fmla="*/ 4579902 w 11269336"/>
              <a:gd name="connsiteY148" fmla="*/ 2177927 h 2323145"/>
              <a:gd name="connsiteX149" fmla="*/ 4533444 w 11269336"/>
              <a:gd name="connsiteY149" fmla="*/ 2181200 h 2323145"/>
              <a:gd name="connsiteX150" fmla="*/ 4492832 w 11269336"/>
              <a:gd name="connsiteY150" fmla="*/ 2188033 h 2323145"/>
              <a:gd name="connsiteX151" fmla="*/ 4467257 w 11269336"/>
              <a:gd name="connsiteY151" fmla="*/ 2196121 h 2323145"/>
              <a:gd name="connsiteX152" fmla="*/ 4459937 w 11269336"/>
              <a:gd name="connsiteY152" fmla="*/ 2195182 h 2323145"/>
              <a:gd name="connsiteX153" fmla="*/ 4433312 w 11269336"/>
              <a:gd name="connsiteY153" fmla="*/ 2199004 h 2323145"/>
              <a:gd name="connsiteX154" fmla="*/ 4420601 w 11269336"/>
              <a:gd name="connsiteY154" fmla="*/ 2205158 h 2323145"/>
              <a:gd name="connsiteX155" fmla="*/ 4405765 w 11269336"/>
              <a:gd name="connsiteY155" fmla="*/ 2199902 h 2323145"/>
              <a:gd name="connsiteX156" fmla="*/ 4401354 w 11269336"/>
              <a:gd name="connsiteY156" fmla="*/ 2194745 h 2323145"/>
              <a:gd name="connsiteX157" fmla="*/ 4383151 w 11269336"/>
              <a:gd name="connsiteY157" fmla="*/ 2201140 h 2323145"/>
              <a:gd name="connsiteX158" fmla="*/ 4366646 w 11269336"/>
              <a:gd name="connsiteY158" fmla="*/ 2198564 h 2323145"/>
              <a:gd name="connsiteX159" fmla="*/ 4354009 w 11269336"/>
              <a:gd name="connsiteY159" fmla="*/ 2204984 h 2323145"/>
              <a:gd name="connsiteX160" fmla="*/ 4348284 w 11269336"/>
              <a:gd name="connsiteY160" fmla="*/ 2205270 h 2323145"/>
              <a:gd name="connsiteX161" fmla="*/ 4333906 w 11269336"/>
              <a:gd name="connsiteY161" fmla="*/ 2205251 h 2323145"/>
              <a:gd name="connsiteX162" fmla="*/ 4308819 w 11269336"/>
              <a:gd name="connsiteY162" fmla="*/ 2203822 h 2323145"/>
              <a:gd name="connsiteX163" fmla="*/ 4301210 w 11269336"/>
              <a:gd name="connsiteY163" fmla="*/ 2204456 h 2323145"/>
              <a:gd name="connsiteX164" fmla="*/ 4283095 w 11269336"/>
              <a:gd name="connsiteY164" fmla="*/ 2198177 h 2323145"/>
              <a:gd name="connsiteX165" fmla="*/ 4250119 w 11269336"/>
              <a:gd name="connsiteY165" fmla="*/ 2196342 h 2323145"/>
              <a:gd name="connsiteX166" fmla="*/ 4189203 w 11269336"/>
              <a:gd name="connsiteY166" fmla="*/ 2178994 h 2323145"/>
              <a:gd name="connsiteX167" fmla="*/ 4154035 w 11269336"/>
              <a:gd name="connsiteY167" fmla="*/ 2171950 h 2323145"/>
              <a:gd name="connsiteX168" fmla="*/ 4129569 w 11269336"/>
              <a:gd name="connsiteY168" fmla="*/ 2163850 h 2323145"/>
              <a:gd name="connsiteX169" fmla="*/ 4061250 w 11269336"/>
              <a:gd name="connsiteY169" fmla="*/ 2159236 h 2323145"/>
              <a:gd name="connsiteX170" fmla="*/ 3945480 w 11269336"/>
              <a:gd name="connsiteY170" fmla="*/ 2158279 h 2323145"/>
              <a:gd name="connsiteX171" fmla="*/ 3921468 w 11269336"/>
              <a:gd name="connsiteY171" fmla="*/ 2156588 h 2323145"/>
              <a:gd name="connsiteX172" fmla="*/ 3903348 w 11269336"/>
              <a:gd name="connsiteY172" fmla="*/ 2149220 h 2323145"/>
              <a:gd name="connsiteX173" fmla="*/ 3901342 w 11269336"/>
              <a:gd name="connsiteY173" fmla="*/ 2142355 h 2323145"/>
              <a:gd name="connsiteX174" fmla="*/ 3888539 w 11269336"/>
              <a:gd name="connsiteY174" fmla="*/ 2140476 h 2323145"/>
              <a:gd name="connsiteX175" fmla="*/ 3885662 w 11269336"/>
              <a:gd name="connsiteY175" fmla="*/ 2138740 h 2323145"/>
              <a:gd name="connsiteX176" fmla="*/ 3868627 w 11269336"/>
              <a:gd name="connsiteY176" fmla="*/ 2130023 h 2323145"/>
              <a:gd name="connsiteX177" fmla="*/ 3819177 w 11269336"/>
              <a:gd name="connsiteY177" fmla="*/ 2142111 h 2323145"/>
              <a:gd name="connsiteX178" fmla="*/ 3769100 w 11269336"/>
              <a:gd name="connsiteY178" fmla="*/ 2131731 h 2323145"/>
              <a:gd name="connsiteX179" fmla="*/ 3562752 w 11269336"/>
              <a:gd name="connsiteY179" fmla="*/ 2131785 h 2323145"/>
              <a:gd name="connsiteX180" fmla="*/ 3541402 w 11269336"/>
              <a:gd name="connsiteY180" fmla="*/ 2106821 h 2323145"/>
              <a:gd name="connsiteX181" fmla="*/ 3365341 w 11269336"/>
              <a:gd name="connsiteY181" fmla="*/ 2077638 h 2323145"/>
              <a:gd name="connsiteX182" fmla="*/ 3170922 w 11269336"/>
              <a:gd name="connsiteY182" fmla="*/ 2115957 h 2323145"/>
              <a:gd name="connsiteX183" fmla="*/ 3156256 w 11269336"/>
              <a:gd name="connsiteY183" fmla="*/ 2124773 h 2323145"/>
              <a:gd name="connsiteX184" fmla="*/ 3140298 w 11269336"/>
              <a:gd name="connsiteY184" fmla="*/ 2129182 h 2323145"/>
              <a:gd name="connsiteX185" fmla="*/ 3138514 w 11269336"/>
              <a:gd name="connsiteY185" fmla="*/ 2128069 h 2323145"/>
              <a:gd name="connsiteX186" fmla="*/ 3120467 w 11269336"/>
              <a:gd name="connsiteY186" fmla="*/ 2128281 h 2323145"/>
              <a:gd name="connsiteX187" fmla="*/ 3116175 w 11269336"/>
              <a:gd name="connsiteY187" fmla="*/ 2131633 h 2323145"/>
              <a:gd name="connsiteX188" fmla="*/ 3103685 w 11269336"/>
              <a:gd name="connsiteY188" fmla="*/ 2132814 h 2323145"/>
              <a:gd name="connsiteX189" fmla="*/ 3078794 w 11269336"/>
              <a:gd name="connsiteY189" fmla="*/ 2137935 h 2323145"/>
              <a:gd name="connsiteX190" fmla="*/ 3074407 w 11269336"/>
              <a:gd name="connsiteY190" fmla="*/ 2136274 h 2323145"/>
              <a:gd name="connsiteX191" fmla="*/ 3037285 w 11269336"/>
              <a:gd name="connsiteY191" fmla="*/ 2139919 h 2323145"/>
              <a:gd name="connsiteX192" fmla="*/ 3036901 w 11269336"/>
              <a:gd name="connsiteY192" fmla="*/ 2138726 h 2323145"/>
              <a:gd name="connsiteX193" fmla="*/ 3026996 w 11269336"/>
              <a:gd name="connsiteY193" fmla="*/ 2134322 h 2323145"/>
              <a:gd name="connsiteX194" fmla="*/ 3007772 w 11269336"/>
              <a:gd name="connsiteY194" fmla="*/ 2128742 h 2323145"/>
              <a:gd name="connsiteX195" fmla="*/ 2965030 w 11269336"/>
              <a:gd name="connsiteY195" fmla="*/ 2100494 h 2323145"/>
              <a:gd name="connsiteX196" fmla="*/ 2926342 w 11269336"/>
              <a:gd name="connsiteY196" fmla="*/ 2104155 h 2323145"/>
              <a:gd name="connsiteX197" fmla="*/ 2918608 w 11269336"/>
              <a:gd name="connsiteY197" fmla="*/ 2104215 h 2323145"/>
              <a:gd name="connsiteX198" fmla="*/ 2918475 w 11269336"/>
              <a:gd name="connsiteY198" fmla="*/ 2103937 h 2323145"/>
              <a:gd name="connsiteX199" fmla="*/ 2910360 w 11269336"/>
              <a:gd name="connsiteY199" fmla="*/ 2103444 h 2323145"/>
              <a:gd name="connsiteX200" fmla="*/ 2904507 w 11269336"/>
              <a:gd name="connsiteY200" fmla="*/ 2104326 h 2323145"/>
              <a:gd name="connsiteX201" fmla="*/ 2889503 w 11269336"/>
              <a:gd name="connsiteY201" fmla="*/ 2104443 h 2323145"/>
              <a:gd name="connsiteX202" fmla="*/ 2884480 w 11269336"/>
              <a:gd name="connsiteY202" fmla="*/ 2102626 h 2323145"/>
              <a:gd name="connsiteX203" fmla="*/ 2882689 w 11269336"/>
              <a:gd name="connsiteY203" fmla="*/ 2099228 h 2323145"/>
              <a:gd name="connsiteX204" fmla="*/ 2881291 w 11269336"/>
              <a:gd name="connsiteY204" fmla="*/ 2099618 h 2323145"/>
              <a:gd name="connsiteX205" fmla="*/ 2853979 w 11269336"/>
              <a:gd name="connsiteY205" fmla="*/ 2090388 h 2323145"/>
              <a:gd name="connsiteX206" fmla="*/ 2791790 w 11269336"/>
              <a:gd name="connsiteY206" fmla="*/ 2080332 h 2323145"/>
              <a:gd name="connsiteX207" fmla="*/ 2755844 w 11269336"/>
              <a:gd name="connsiteY207" fmla="*/ 2078874 h 2323145"/>
              <a:gd name="connsiteX208" fmla="*/ 2657742 w 11269336"/>
              <a:gd name="connsiteY208" fmla="*/ 2070179 h 2323145"/>
              <a:gd name="connsiteX209" fmla="*/ 2559549 w 11269336"/>
              <a:gd name="connsiteY209" fmla="*/ 2057873 h 2323145"/>
              <a:gd name="connsiteX210" fmla="*/ 2512054 w 11269336"/>
              <a:gd name="connsiteY210" fmla="*/ 2031671 h 2323145"/>
              <a:gd name="connsiteX211" fmla="*/ 2506437 w 11269336"/>
              <a:gd name="connsiteY211" fmla="*/ 2030918 h 2323145"/>
              <a:gd name="connsiteX212" fmla="*/ 2491752 w 11269336"/>
              <a:gd name="connsiteY212" fmla="*/ 2033906 h 2323145"/>
              <a:gd name="connsiteX213" fmla="*/ 2486338 w 11269336"/>
              <a:gd name="connsiteY213" fmla="*/ 2035862 h 2323145"/>
              <a:gd name="connsiteX214" fmla="*/ 2478186 w 11269336"/>
              <a:gd name="connsiteY214" fmla="*/ 2036953 h 2323145"/>
              <a:gd name="connsiteX215" fmla="*/ 2477950 w 11269336"/>
              <a:gd name="connsiteY215" fmla="*/ 2036715 h 2323145"/>
              <a:gd name="connsiteX216" fmla="*/ 2470381 w 11269336"/>
              <a:gd name="connsiteY216" fmla="*/ 2038256 h 2323145"/>
              <a:gd name="connsiteX217" fmla="*/ 2433781 w 11269336"/>
              <a:gd name="connsiteY217" fmla="*/ 2049140 h 2323145"/>
              <a:gd name="connsiteX218" fmla="*/ 2381172 w 11269336"/>
              <a:gd name="connsiteY218" fmla="*/ 2030645 h 2323145"/>
              <a:gd name="connsiteX219" fmla="*/ 2360198 w 11269336"/>
              <a:gd name="connsiteY219" fmla="*/ 2029059 h 2323145"/>
              <a:gd name="connsiteX220" fmla="*/ 2348815 w 11269336"/>
              <a:gd name="connsiteY220" fmla="*/ 2026798 h 2323145"/>
              <a:gd name="connsiteX221" fmla="*/ 2347988 w 11269336"/>
              <a:gd name="connsiteY221" fmla="*/ 2025745 h 2323145"/>
              <a:gd name="connsiteX222" fmla="*/ 2312920 w 11269336"/>
              <a:gd name="connsiteY222" fmla="*/ 2036311 h 2323145"/>
              <a:gd name="connsiteX223" fmla="*/ 2307986 w 11269336"/>
              <a:gd name="connsiteY223" fmla="*/ 2035583 h 2323145"/>
              <a:gd name="connsiteX224" fmla="*/ 2285481 w 11269336"/>
              <a:gd name="connsiteY224" fmla="*/ 2045197 h 2323145"/>
              <a:gd name="connsiteX225" fmla="*/ 2273666 w 11269336"/>
              <a:gd name="connsiteY225" fmla="*/ 2048710 h 2323145"/>
              <a:gd name="connsiteX226" fmla="*/ 2270719 w 11269336"/>
              <a:gd name="connsiteY226" fmla="*/ 2052702 h 2323145"/>
              <a:gd name="connsiteX227" fmla="*/ 2253080 w 11269336"/>
              <a:gd name="connsiteY227" fmla="*/ 2056363 h 2323145"/>
              <a:gd name="connsiteX228" fmla="*/ 2250906 w 11269336"/>
              <a:gd name="connsiteY228" fmla="*/ 2055654 h 2323145"/>
              <a:gd name="connsiteX229" fmla="*/ 2236905 w 11269336"/>
              <a:gd name="connsiteY229" fmla="*/ 2062882 h 2323145"/>
              <a:gd name="connsiteX230" fmla="*/ 2225830 w 11269336"/>
              <a:gd name="connsiteY230" fmla="*/ 2074027 h 2323145"/>
              <a:gd name="connsiteX231" fmla="*/ 2073776 w 11269336"/>
              <a:gd name="connsiteY231" fmla="*/ 2089244 h 2323145"/>
              <a:gd name="connsiteX232" fmla="*/ 1948256 w 11269336"/>
              <a:gd name="connsiteY232" fmla="*/ 2146616 h 2323145"/>
              <a:gd name="connsiteX233" fmla="*/ 1865582 w 11269336"/>
              <a:gd name="connsiteY233" fmla="*/ 2153738 h 2323145"/>
              <a:gd name="connsiteX234" fmla="*/ 1835210 w 11269336"/>
              <a:gd name="connsiteY234" fmla="*/ 2134244 h 2323145"/>
              <a:gd name="connsiteX235" fmla="*/ 1632661 w 11269336"/>
              <a:gd name="connsiteY235" fmla="*/ 2173882 h 2323145"/>
              <a:gd name="connsiteX236" fmla="*/ 1579590 w 11269336"/>
              <a:gd name="connsiteY236" fmla="*/ 2173680 h 2323145"/>
              <a:gd name="connsiteX237" fmla="*/ 1535601 w 11269336"/>
              <a:gd name="connsiteY237" fmla="*/ 2194590 h 2323145"/>
              <a:gd name="connsiteX238" fmla="*/ 1515594 w 11269336"/>
              <a:gd name="connsiteY238" fmla="*/ 2189622 h 2323145"/>
              <a:gd name="connsiteX239" fmla="*/ 1512113 w 11269336"/>
              <a:gd name="connsiteY239" fmla="*/ 2188534 h 2323145"/>
              <a:gd name="connsiteX240" fmla="*/ 1498838 w 11269336"/>
              <a:gd name="connsiteY240" fmla="*/ 2189213 h 2323145"/>
              <a:gd name="connsiteX241" fmla="*/ 1494279 w 11269336"/>
              <a:gd name="connsiteY241" fmla="*/ 2183112 h 2323145"/>
              <a:gd name="connsiteX242" fmla="*/ 1473714 w 11269336"/>
              <a:gd name="connsiteY242" fmla="*/ 2179625 h 2323145"/>
              <a:gd name="connsiteX243" fmla="*/ 1449503 w 11269336"/>
              <a:gd name="connsiteY243" fmla="*/ 2182633 h 2323145"/>
              <a:gd name="connsiteX244" fmla="*/ 1266687 w 11269336"/>
              <a:gd name="connsiteY244" fmla="*/ 2212688 h 2323145"/>
              <a:gd name="connsiteX245" fmla="*/ 1239614 w 11269336"/>
              <a:gd name="connsiteY245" fmla="*/ 2209727 h 2323145"/>
              <a:gd name="connsiteX246" fmla="*/ 1202436 w 11269336"/>
              <a:gd name="connsiteY246" fmla="*/ 2209817 h 2323145"/>
              <a:gd name="connsiteX247" fmla="*/ 1136097 w 11269336"/>
              <a:gd name="connsiteY247" fmla="*/ 2205112 h 2323145"/>
              <a:gd name="connsiteX248" fmla="*/ 988232 w 11269336"/>
              <a:gd name="connsiteY248" fmla="*/ 2235635 h 2323145"/>
              <a:gd name="connsiteX249" fmla="*/ 981959 w 11269336"/>
              <a:gd name="connsiteY249" fmla="*/ 2231607 h 2323145"/>
              <a:gd name="connsiteX250" fmla="*/ 938600 w 11269336"/>
              <a:gd name="connsiteY250" fmla="*/ 2238113 h 2323145"/>
              <a:gd name="connsiteX251" fmla="*/ 791788 w 11269336"/>
              <a:gd name="connsiteY251" fmla="*/ 2293224 h 2323145"/>
              <a:gd name="connsiteX252" fmla="*/ 706914 w 11269336"/>
              <a:gd name="connsiteY252" fmla="*/ 2305046 h 2323145"/>
              <a:gd name="connsiteX253" fmla="*/ 675971 w 11269336"/>
              <a:gd name="connsiteY253" fmla="*/ 2304030 h 2323145"/>
              <a:gd name="connsiteX254" fmla="*/ 624180 w 11269336"/>
              <a:gd name="connsiteY254" fmla="*/ 2302650 h 2323145"/>
              <a:gd name="connsiteX255" fmla="*/ 583453 w 11269336"/>
              <a:gd name="connsiteY255" fmla="*/ 2288788 h 2323145"/>
              <a:gd name="connsiteX256" fmla="*/ 540946 w 11269336"/>
              <a:gd name="connsiteY256" fmla="*/ 2292721 h 2323145"/>
              <a:gd name="connsiteX257" fmla="*/ 533680 w 11269336"/>
              <a:gd name="connsiteY257" fmla="*/ 2310233 h 2323145"/>
              <a:gd name="connsiteX258" fmla="*/ 487366 w 11269336"/>
              <a:gd name="connsiteY258" fmla="*/ 2309053 h 2323145"/>
              <a:gd name="connsiteX259" fmla="*/ 416820 w 11269336"/>
              <a:gd name="connsiteY259" fmla="*/ 2305443 h 2323145"/>
              <a:gd name="connsiteX260" fmla="*/ 376805 w 11269336"/>
              <a:gd name="connsiteY260" fmla="*/ 2307647 h 2323145"/>
              <a:gd name="connsiteX261" fmla="*/ 266777 w 11269336"/>
              <a:gd name="connsiteY261" fmla="*/ 2309012 h 2323145"/>
              <a:gd name="connsiteX262" fmla="*/ 156013 w 11269336"/>
              <a:gd name="connsiteY262" fmla="*/ 2306832 h 2323145"/>
              <a:gd name="connsiteX263" fmla="*/ 87258 w 11269336"/>
              <a:gd name="connsiteY263" fmla="*/ 2285511 h 2323145"/>
              <a:gd name="connsiteX264" fmla="*/ 23798 w 11269336"/>
              <a:gd name="connsiteY264" fmla="*/ 2281822 h 2323145"/>
              <a:gd name="connsiteX265" fmla="*/ 0 w 11269336"/>
              <a:gd name="connsiteY265" fmla="*/ 2285369 h 2323145"/>
              <a:gd name="connsiteX266" fmla="*/ 0 w 11269336"/>
              <a:gd name="connsiteY266"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139429 w 11269336"/>
              <a:gd name="connsiteY20" fmla="*/ 696446 h 2323145"/>
              <a:gd name="connsiteX21" fmla="*/ 9114263 w 11269336"/>
              <a:gd name="connsiteY21" fmla="*/ 709213 h 2323145"/>
              <a:gd name="connsiteX22" fmla="*/ 9028928 w 11269336"/>
              <a:gd name="connsiteY22" fmla="*/ 745350 h 2323145"/>
              <a:gd name="connsiteX23" fmla="*/ 8977138 w 11269336"/>
              <a:gd name="connsiteY23" fmla="*/ 774970 h 2323145"/>
              <a:gd name="connsiteX24" fmla="*/ 8947030 w 11269336"/>
              <a:gd name="connsiteY24" fmla="*/ 814934 h 2323145"/>
              <a:gd name="connsiteX25" fmla="*/ 8914746 w 11269336"/>
              <a:gd name="connsiteY25" fmla="*/ 826428 h 2323145"/>
              <a:gd name="connsiteX26" fmla="*/ 8917778 w 11269336"/>
              <a:gd name="connsiteY26" fmla="*/ 835198 h 2323145"/>
              <a:gd name="connsiteX27" fmla="*/ 8905560 w 11269336"/>
              <a:gd name="connsiteY27" fmla="*/ 838358 h 2323145"/>
              <a:gd name="connsiteX28" fmla="*/ 8897564 w 11269336"/>
              <a:gd name="connsiteY28" fmla="*/ 834287 h 2323145"/>
              <a:gd name="connsiteX29" fmla="*/ 8878040 w 11269336"/>
              <a:gd name="connsiteY29" fmla="*/ 844150 h 2323145"/>
              <a:gd name="connsiteX30" fmla="*/ 8882654 w 11269336"/>
              <a:gd name="connsiteY30" fmla="*/ 892768 h 2323145"/>
              <a:gd name="connsiteX31" fmla="*/ 8795998 w 11269336"/>
              <a:gd name="connsiteY31" fmla="*/ 863337 h 2323145"/>
              <a:gd name="connsiteX32" fmla="*/ 8776970 w 11269336"/>
              <a:gd name="connsiteY32" fmla="*/ 885177 h 2323145"/>
              <a:gd name="connsiteX33" fmla="*/ 8755719 w 11269336"/>
              <a:gd name="connsiteY33" fmla="*/ 889754 h 2323145"/>
              <a:gd name="connsiteX34" fmla="*/ 8743257 w 11269336"/>
              <a:gd name="connsiteY34" fmla="*/ 904723 h 2323145"/>
              <a:gd name="connsiteX35" fmla="*/ 8721366 w 11269336"/>
              <a:gd name="connsiteY35" fmla="*/ 904711 h 2323145"/>
              <a:gd name="connsiteX36" fmla="*/ 8678353 w 11269336"/>
              <a:gd name="connsiteY36" fmla="*/ 926318 h 2323145"/>
              <a:gd name="connsiteX37" fmla="*/ 8636849 w 11269336"/>
              <a:gd name="connsiteY37" fmla="*/ 937900 h 2323145"/>
              <a:gd name="connsiteX38" fmla="*/ 8620213 w 11269336"/>
              <a:gd name="connsiteY38" fmla="*/ 943068 h 2323145"/>
              <a:gd name="connsiteX39" fmla="*/ 8612581 w 11269336"/>
              <a:gd name="connsiteY39" fmla="*/ 952695 h 2323145"/>
              <a:gd name="connsiteX40" fmla="*/ 8589038 w 11269336"/>
              <a:gd name="connsiteY40" fmla="*/ 963892 h 2323145"/>
              <a:gd name="connsiteX41" fmla="*/ 8579950 w 11269336"/>
              <a:gd name="connsiteY41" fmla="*/ 960899 h 2323145"/>
              <a:gd name="connsiteX42" fmla="*/ 8579319 w 11269336"/>
              <a:gd name="connsiteY42" fmla="*/ 965630 h 2323145"/>
              <a:gd name="connsiteX43" fmla="*/ 8547429 w 11269336"/>
              <a:gd name="connsiteY43" fmla="*/ 984506 h 2323145"/>
              <a:gd name="connsiteX44" fmla="*/ 8478704 w 11269336"/>
              <a:gd name="connsiteY44" fmla="*/ 1025490 h 2323145"/>
              <a:gd name="connsiteX45" fmla="*/ 8461421 w 11269336"/>
              <a:gd name="connsiteY45" fmla="*/ 1035512 h 2323145"/>
              <a:gd name="connsiteX46" fmla="*/ 8445003 w 11269336"/>
              <a:gd name="connsiteY46" fmla="*/ 1036851 h 2323145"/>
              <a:gd name="connsiteX47" fmla="*/ 8357350 w 11269336"/>
              <a:gd name="connsiteY47" fmla="*/ 1060213 h 2323145"/>
              <a:gd name="connsiteX48" fmla="*/ 8335565 w 11269336"/>
              <a:gd name="connsiteY48" fmla="*/ 1061151 h 2323145"/>
              <a:gd name="connsiteX49" fmla="*/ 8325267 w 11269336"/>
              <a:gd name="connsiteY49" fmla="*/ 1055919 h 2323145"/>
              <a:gd name="connsiteX50" fmla="*/ 8293586 w 11269336"/>
              <a:gd name="connsiteY50" fmla="*/ 1076144 h 2323145"/>
              <a:gd name="connsiteX51" fmla="*/ 8242405 w 11269336"/>
              <a:gd name="connsiteY51" fmla="*/ 1095960 h 2323145"/>
              <a:gd name="connsiteX52" fmla="*/ 8197391 w 11269336"/>
              <a:gd name="connsiteY52" fmla="*/ 1107746 h 2323145"/>
              <a:gd name="connsiteX53" fmla="*/ 8081474 w 11269336"/>
              <a:gd name="connsiteY53" fmla="*/ 1130125 h 2323145"/>
              <a:gd name="connsiteX54" fmla="*/ 8053585 w 11269336"/>
              <a:gd name="connsiteY54" fmla="*/ 1129169 h 2323145"/>
              <a:gd name="connsiteX55" fmla="*/ 8038422 w 11269336"/>
              <a:gd name="connsiteY55" fmla="*/ 1119092 h 2323145"/>
              <a:gd name="connsiteX56" fmla="*/ 8029450 w 11269336"/>
              <a:gd name="connsiteY56" fmla="*/ 1125592 h 2323145"/>
              <a:gd name="connsiteX57" fmla="*/ 7959552 w 11269336"/>
              <a:gd name="connsiteY57" fmla="*/ 1140188 h 2323145"/>
              <a:gd name="connsiteX58" fmla="*/ 7914188 w 11269336"/>
              <a:gd name="connsiteY58" fmla="*/ 1150862 h 2323145"/>
              <a:gd name="connsiteX59" fmla="*/ 7914918 w 11269336"/>
              <a:gd name="connsiteY59" fmla="*/ 1168758 h 2323145"/>
              <a:gd name="connsiteX60" fmla="*/ 7875510 w 11269336"/>
              <a:gd name="connsiteY60" fmla="*/ 1183153 h 2323145"/>
              <a:gd name="connsiteX61" fmla="*/ 7829932 w 11269336"/>
              <a:gd name="connsiteY61" fmla="*/ 1180782 h 2323145"/>
              <a:gd name="connsiteX62" fmla="*/ 7779182 w 11269336"/>
              <a:gd name="connsiteY62" fmla="*/ 1192665 h 2323145"/>
              <a:gd name="connsiteX63" fmla="*/ 7748774 w 11269336"/>
              <a:gd name="connsiteY63" fmla="*/ 1199586 h 2323145"/>
              <a:gd name="connsiteX64" fmla="*/ 7671846 w 11269336"/>
              <a:gd name="connsiteY64" fmla="*/ 1231966 h 2323145"/>
              <a:gd name="connsiteX65" fmla="*/ 7554146 w 11269336"/>
              <a:gd name="connsiteY65" fmla="*/ 1319748 h 2323145"/>
              <a:gd name="connsiteX66" fmla="*/ 7515052 w 11269336"/>
              <a:gd name="connsiteY66" fmla="*/ 1336718 h 2323145"/>
              <a:gd name="connsiteX67" fmla="*/ 7507193 w 11269336"/>
              <a:gd name="connsiteY67" fmla="*/ 1334617 h 2323145"/>
              <a:gd name="connsiteX68" fmla="*/ 7461694 w 11269336"/>
              <a:gd name="connsiteY68" fmla="*/ 1375866 h 2323145"/>
              <a:gd name="connsiteX69" fmla="*/ 7377571 w 11269336"/>
              <a:gd name="connsiteY69" fmla="*/ 1400128 h 2323145"/>
              <a:gd name="connsiteX70" fmla="*/ 7311261 w 11269336"/>
              <a:gd name="connsiteY70" fmla="*/ 1412652 h 2323145"/>
              <a:gd name="connsiteX71" fmla="*/ 7275307 w 11269336"/>
              <a:gd name="connsiteY71" fmla="*/ 1422171 h 2323145"/>
              <a:gd name="connsiteX72" fmla="*/ 7247783 w 11269336"/>
              <a:gd name="connsiteY72" fmla="*/ 1426330 h 2323145"/>
              <a:gd name="connsiteX73" fmla="*/ 7185047 w 11269336"/>
              <a:gd name="connsiteY73" fmla="*/ 1451812 h 2323145"/>
              <a:gd name="connsiteX74" fmla="*/ 7084117 w 11269336"/>
              <a:gd name="connsiteY74" fmla="*/ 1500281 h 2323145"/>
              <a:gd name="connsiteX75" fmla="*/ 7062011 w 11269336"/>
              <a:gd name="connsiteY75" fmla="*/ 1509183 h 2323145"/>
              <a:gd name="connsiteX76" fmla="*/ 7040555 w 11269336"/>
              <a:gd name="connsiteY76" fmla="*/ 1511207 h 2323145"/>
              <a:gd name="connsiteX77" fmla="*/ 7033438 w 11269336"/>
              <a:gd name="connsiteY77" fmla="*/ 1506772 h 2323145"/>
              <a:gd name="connsiteX78" fmla="*/ 7020886 w 11269336"/>
              <a:gd name="connsiteY78" fmla="*/ 1510764 h 2323145"/>
              <a:gd name="connsiteX79" fmla="*/ 7017033 w 11269336"/>
              <a:gd name="connsiteY79" fmla="*/ 1510650 h 2323145"/>
              <a:gd name="connsiteX80" fmla="*/ 6995460 w 11269336"/>
              <a:gd name="connsiteY80" fmla="*/ 1511173 h 2323145"/>
              <a:gd name="connsiteX81" fmla="*/ 6962144 w 11269336"/>
              <a:gd name="connsiteY81" fmla="*/ 1541508 h 2323145"/>
              <a:gd name="connsiteX82" fmla="*/ 6910674 w 11269336"/>
              <a:gd name="connsiteY82" fmla="*/ 1554793 h 2323145"/>
              <a:gd name="connsiteX83" fmla="*/ 6732152 w 11269336"/>
              <a:gd name="connsiteY83" fmla="*/ 1642538 h 2323145"/>
              <a:gd name="connsiteX84" fmla="*/ 6694106 w 11269336"/>
              <a:gd name="connsiteY84" fmla="*/ 1632377 h 2323145"/>
              <a:gd name="connsiteX85" fmla="*/ 6617223 w 11269336"/>
              <a:gd name="connsiteY85" fmla="*/ 1659889 h 2323145"/>
              <a:gd name="connsiteX86" fmla="*/ 6521138 w 11269336"/>
              <a:gd name="connsiteY86" fmla="*/ 1744340 h 2323145"/>
              <a:gd name="connsiteX87" fmla="*/ 6380677 w 11269336"/>
              <a:gd name="connsiteY87" fmla="*/ 1796883 h 2323145"/>
              <a:gd name="connsiteX88" fmla="*/ 6374897 w 11269336"/>
              <a:gd name="connsiteY88" fmla="*/ 1809910 h 2323145"/>
              <a:gd name="connsiteX89" fmla="*/ 6364545 w 11269336"/>
              <a:gd name="connsiteY89" fmla="*/ 1820090 h 2323145"/>
              <a:gd name="connsiteX90" fmla="*/ 6362126 w 11269336"/>
              <a:gd name="connsiteY90" fmla="*/ 1819991 h 2323145"/>
              <a:gd name="connsiteX91" fmla="*/ 6346673 w 11269336"/>
              <a:gd name="connsiteY91" fmla="*/ 1827824 h 2323145"/>
              <a:gd name="connsiteX92" fmla="*/ 6345588 w 11269336"/>
              <a:gd name="connsiteY92" fmla="*/ 1832232 h 2323145"/>
              <a:gd name="connsiteX93" fmla="*/ 6335708 w 11269336"/>
              <a:gd name="connsiteY93" fmla="*/ 1838451 h 2323145"/>
              <a:gd name="connsiteX94" fmla="*/ 6318182 w 11269336"/>
              <a:gd name="connsiteY94" fmla="*/ 1852975 h 2323145"/>
              <a:gd name="connsiteX95" fmla="*/ 6313084 w 11269336"/>
              <a:gd name="connsiteY95" fmla="*/ 1853561 h 2323145"/>
              <a:gd name="connsiteX96" fmla="*/ 6283816 w 11269336"/>
              <a:gd name="connsiteY96" fmla="*/ 1872148 h 2323145"/>
              <a:gd name="connsiteX97" fmla="*/ 6282550 w 11269336"/>
              <a:gd name="connsiteY97" fmla="*/ 1871392 h 2323145"/>
              <a:gd name="connsiteX98" fmla="*/ 6270527 w 11269336"/>
              <a:gd name="connsiteY98" fmla="*/ 1872208 h 2323145"/>
              <a:gd name="connsiteX99" fmla="*/ 6249518 w 11269336"/>
              <a:gd name="connsiteY99" fmla="*/ 1876079 h 2323145"/>
              <a:gd name="connsiteX100" fmla="*/ 6190386 w 11269336"/>
              <a:gd name="connsiteY100" fmla="*/ 1872478 h 2323145"/>
              <a:gd name="connsiteX101" fmla="*/ 6159777 w 11269336"/>
              <a:gd name="connsiteY101" fmla="*/ 1891745 h 2323145"/>
              <a:gd name="connsiteX102" fmla="*/ 6153131 w 11269336"/>
              <a:gd name="connsiteY102" fmla="*/ 1895079 h 2323145"/>
              <a:gd name="connsiteX103" fmla="*/ 6152798 w 11269336"/>
              <a:gd name="connsiteY103" fmla="*/ 1894920 h 2323145"/>
              <a:gd name="connsiteX104" fmla="*/ 6145388 w 11269336"/>
              <a:gd name="connsiteY104" fmla="*/ 1897990 h 2323145"/>
              <a:gd name="connsiteX105" fmla="*/ 6141014 w 11269336"/>
              <a:gd name="connsiteY105" fmla="*/ 1901155 h 2323145"/>
              <a:gd name="connsiteX106" fmla="*/ 6128122 w 11269336"/>
              <a:gd name="connsiteY106" fmla="*/ 1907623 h 2323145"/>
              <a:gd name="connsiteX107" fmla="*/ 6122351 w 11269336"/>
              <a:gd name="connsiteY107" fmla="*/ 1908359 h 2323145"/>
              <a:gd name="connsiteX108" fmla="*/ 6064750 w 11269336"/>
              <a:gd name="connsiteY108" fmla="*/ 1896394 h 2323145"/>
              <a:gd name="connsiteX109" fmla="*/ 5964230 w 11269336"/>
              <a:gd name="connsiteY109" fmla="*/ 1910038 h 2323145"/>
              <a:gd name="connsiteX110" fmla="*/ 5865399 w 11269336"/>
              <a:gd name="connsiteY110" fmla="*/ 1926966 h 2323145"/>
              <a:gd name="connsiteX111" fmla="*/ 5829951 w 11269336"/>
              <a:gd name="connsiteY111" fmla="*/ 1934755 h 2323145"/>
              <a:gd name="connsiteX112" fmla="*/ 5765285 w 11269336"/>
              <a:gd name="connsiteY112" fmla="*/ 1941322 h 2323145"/>
              <a:gd name="connsiteX113" fmla="*/ 5734750 w 11269336"/>
              <a:gd name="connsiteY113" fmla="*/ 1939793 h 2323145"/>
              <a:gd name="connsiteX114" fmla="*/ 5733569 w 11269336"/>
              <a:gd name="connsiteY114" fmla="*/ 1940505 h 2323145"/>
              <a:gd name="connsiteX115" fmla="*/ 5730329 w 11269336"/>
              <a:gd name="connsiteY115" fmla="*/ 1937845 h 2323145"/>
              <a:gd name="connsiteX116" fmla="*/ 5724661 w 11269336"/>
              <a:gd name="connsiteY116" fmla="*/ 1937455 h 2323145"/>
              <a:gd name="connsiteX117" fmla="*/ 5710186 w 11269336"/>
              <a:gd name="connsiteY117" fmla="*/ 1941370 h 2323145"/>
              <a:gd name="connsiteX118" fmla="*/ 5704910 w 11269336"/>
              <a:gd name="connsiteY118" fmla="*/ 1943663 h 2323145"/>
              <a:gd name="connsiteX119" fmla="*/ 5696836 w 11269336"/>
              <a:gd name="connsiteY119" fmla="*/ 1945271 h 2323145"/>
              <a:gd name="connsiteX120" fmla="*/ 5696583 w 11269336"/>
              <a:gd name="connsiteY120" fmla="*/ 1945050 h 2323145"/>
              <a:gd name="connsiteX121" fmla="*/ 5689123 w 11269336"/>
              <a:gd name="connsiteY121" fmla="*/ 1947067 h 2323145"/>
              <a:gd name="connsiteX122" fmla="*/ 5653291 w 11269336"/>
              <a:gd name="connsiteY122" fmla="*/ 1960245 h 2323145"/>
              <a:gd name="connsiteX123" fmla="*/ 5599385 w 11269336"/>
              <a:gd name="connsiteY123" fmla="*/ 1945198 h 2323145"/>
              <a:gd name="connsiteX124" fmla="*/ 5578300 w 11269336"/>
              <a:gd name="connsiteY124" fmla="*/ 1944963 h 2323145"/>
              <a:gd name="connsiteX125" fmla="*/ 5566758 w 11269336"/>
              <a:gd name="connsiteY125" fmla="*/ 1943441 h 2323145"/>
              <a:gd name="connsiteX126" fmla="*/ 5565857 w 11269336"/>
              <a:gd name="connsiteY126" fmla="*/ 1942445 h 2323145"/>
              <a:gd name="connsiteX127" fmla="*/ 5531534 w 11269336"/>
              <a:gd name="connsiteY127" fmla="*/ 1955208 h 2323145"/>
              <a:gd name="connsiteX128" fmla="*/ 5526552 w 11269336"/>
              <a:gd name="connsiteY128" fmla="*/ 1954799 h 2323145"/>
              <a:gd name="connsiteX129" fmla="*/ 5504723 w 11269336"/>
              <a:gd name="connsiteY129" fmla="*/ 1965811 h 2323145"/>
              <a:gd name="connsiteX130" fmla="*/ 5493156 w 11269336"/>
              <a:gd name="connsiteY130" fmla="*/ 1970063 h 2323145"/>
              <a:gd name="connsiteX131" fmla="*/ 5490486 w 11269336"/>
              <a:gd name="connsiteY131" fmla="*/ 1974227 h 2323145"/>
              <a:gd name="connsiteX132" fmla="*/ 5473107 w 11269336"/>
              <a:gd name="connsiteY132" fmla="*/ 1979001 h 2323145"/>
              <a:gd name="connsiteX133" fmla="*/ 5470885 w 11269336"/>
              <a:gd name="connsiteY133" fmla="*/ 1978432 h 2323145"/>
              <a:gd name="connsiteX134" fmla="*/ 5457393 w 11269336"/>
              <a:gd name="connsiteY134" fmla="*/ 1986525 h 2323145"/>
              <a:gd name="connsiteX135" fmla="*/ 5447102 w 11269336"/>
              <a:gd name="connsiteY135" fmla="*/ 1998329 h 2323145"/>
              <a:gd name="connsiteX136" fmla="*/ 5159151 w 11269336"/>
              <a:gd name="connsiteY136" fmla="*/ 2029640 h 2323145"/>
              <a:gd name="connsiteX137" fmla="*/ 5041688 w 11269336"/>
              <a:gd name="connsiteY137" fmla="*/ 2022334 h 2323145"/>
              <a:gd name="connsiteX138" fmla="*/ 4860988 w 11269336"/>
              <a:gd name="connsiteY138" fmla="*/ 2135698 h 2323145"/>
              <a:gd name="connsiteX139" fmla="*/ 4807902 w 11269336"/>
              <a:gd name="connsiteY139" fmla="*/ 2138894 h 2323145"/>
              <a:gd name="connsiteX140" fmla="*/ 4765388 w 11269336"/>
              <a:gd name="connsiteY140" fmla="*/ 2162525 h 2323145"/>
              <a:gd name="connsiteX141" fmla="*/ 4745033 w 11269336"/>
              <a:gd name="connsiteY141" fmla="*/ 2158859 h 2323145"/>
              <a:gd name="connsiteX142" fmla="*/ 4741475 w 11269336"/>
              <a:gd name="connsiteY142" fmla="*/ 2157998 h 2323145"/>
              <a:gd name="connsiteX143" fmla="*/ 4728247 w 11269336"/>
              <a:gd name="connsiteY143" fmla="*/ 2159526 h 2323145"/>
              <a:gd name="connsiteX144" fmla="*/ 4723263 w 11269336"/>
              <a:gd name="connsiteY144" fmla="*/ 2153742 h 2323145"/>
              <a:gd name="connsiteX145" fmla="*/ 4702453 w 11269336"/>
              <a:gd name="connsiteY145" fmla="*/ 2151586 h 2323145"/>
              <a:gd name="connsiteX146" fmla="*/ 4678455 w 11269336"/>
              <a:gd name="connsiteY146" fmla="*/ 2156131 h 2323145"/>
              <a:gd name="connsiteX147" fmla="*/ 4593061 w 11269336"/>
              <a:gd name="connsiteY147" fmla="*/ 2171597 h 2323145"/>
              <a:gd name="connsiteX148" fmla="*/ 4579902 w 11269336"/>
              <a:gd name="connsiteY148" fmla="*/ 2177927 h 2323145"/>
              <a:gd name="connsiteX149" fmla="*/ 4533444 w 11269336"/>
              <a:gd name="connsiteY149" fmla="*/ 2181200 h 2323145"/>
              <a:gd name="connsiteX150" fmla="*/ 4492832 w 11269336"/>
              <a:gd name="connsiteY150" fmla="*/ 2188033 h 2323145"/>
              <a:gd name="connsiteX151" fmla="*/ 4467257 w 11269336"/>
              <a:gd name="connsiteY151" fmla="*/ 2196121 h 2323145"/>
              <a:gd name="connsiteX152" fmla="*/ 4459937 w 11269336"/>
              <a:gd name="connsiteY152" fmla="*/ 2195182 h 2323145"/>
              <a:gd name="connsiteX153" fmla="*/ 4433312 w 11269336"/>
              <a:gd name="connsiteY153" fmla="*/ 2199004 h 2323145"/>
              <a:gd name="connsiteX154" fmla="*/ 4420601 w 11269336"/>
              <a:gd name="connsiteY154" fmla="*/ 2205158 h 2323145"/>
              <a:gd name="connsiteX155" fmla="*/ 4405765 w 11269336"/>
              <a:gd name="connsiteY155" fmla="*/ 2199902 h 2323145"/>
              <a:gd name="connsiteX156" fmla="*/ 4401354 w 11269336"/>
              <a:gd name="connsiteY156" fmla="*/ 2194745 h 2323145"/>
              <a:gd name="connsiteX157" fmla="*/ 4383151 w 11269336"/>
              <a:gd name="connsiteY157" fmla="*/ 2201140 h 2323145"/>
              <a:gd name="connsiteX158" fmla="*/ 4366646 w 11269336"/>
              <a:gd name="connsiteY158" fmla="*/ 2198564 h 2323145"/>
              <a:gd name="connsiteX159" fmla="*/ 4354009 w 11269336"/>
              <a:gd name="connsiteY159" fmla="*/ 2204984 h 2323145"/>
              <a:gd name="connsiteX160" fmla="*/ 4348284 w 11269336"/>
              <a:gd name="connsiteY160" fmla="*/ 2205270 h 2323145"/>
              <a:gd name="connsiteX161" fmla="*/ 4333906 w 11269336"/>
              <a:gd name="connsiteY161" fmla="*/ 2205251 h 2323145"/>
              <a:gd name="connsiteX162" fmla="*/ 4308819 w 11269336"/>
              <a:gd name="connsiteY162" fmla="*/ 2203822 h 2323145"/>
              <a:gd name="connsiteX163" fmla="*/ 4301210 w 11269336"/>
              <a:gd name="connsiteY163" fmla="*/ 2204456 h 2323145"/>
              <a:gd name="connsiteX164" fmla="*/ 4283095 w 11269336"/>
              <a:gd name="connsiteY164" fmla="*/ 2198177 h 2323145"/>
              <a:gd name="connsiteX165" fmla="*/ 4250119 w 11269336"/>
              <a:gd name="connsiteY165" fmla="*/ 2196342 h 2323145"/>
              <a:gd name="connsiteX166" fmla="*/ 4189203 w 11269336"/>
              <a:gd name="connsiteY166" fmla="*/ 2178994 h 2323145"/>
              <a:gd name="connsiteX167" fmla="*/ 4154035 w 11269336"/>
              <a:gd name="connsiteY167" fmla="*/ 2171950 h 2323145"/>
              <a:gd name="connsiteX168" fmla="*/ 4129569 w 11269336"/>
              <a:gd name="connsiteY168" fmla="*/ 2163850 h 2323145"/>
              <a:gd name="connsiteX169" fmla="*/ 4061250 w 11269336"/>
              <a:gd name="connsiteY169" fmla="*/ 2159236 h 2323145"/>
              <a:gd name="connsiteX170" fmla="*/ 3945480 w 11269336"/>
              <a:gd name="connsiteY170" fmla="*/ 2158279 h 2323145"/>
              <a:gd name="connsiteX171" fmla="*/ 3921468 w 11269336"/>
              <a:gd name="connsiteY171" fmla="*/ 2156588 h 2323145"/>
              <a:gd name="connsiteX172" fmla="*/ 3903348 w 11269336"/>
              <a:gd name="connsiteY172" fmla="*/ 2149220 h 2323145"/>
              <a:gd name="connsiteX173" fmla="*/ 3901342 w 11269336"/>
              <a:gd name="connsiteY173" fmla="*/ 2142355 h 2323145"/>
              <a:gd name="connsiteX174" fmla="*/ 3888539 w 11269336"/>
              <a:gd name="connsiteY174" fmla="*/ 2140476 h 2323145"/>
              <a:gd name="connsiteX175" fmla="*/ 3885662 w 11269336"/>
              <a:gd name="connsiteY175" fmla="*/ 2138740 h 2323145"/>
              <a:gd name="connsiteX176" fmla="*/ 3868627 w 11269336"/>
              <a:gd name="connsiteY176" fmla="*/ 2130023 h 2323145"/>
              <a:gd name="connsiteX177" fmla="*/ 3819177 w 11269336"/>
              <a:gd name="connsiteY177" fmla="*/ 2142111 h 2323145"/>
              <a:gd name="connsiteX178" fmla="*/ 3769100 w 11269336"/>
              <a:gd name="connsiteY178" fmla="*/ 2131731 h 2323145"/>
              <a:gd name="connsiteX179" fmla="*/ 3562752 w 11269336"/>
              <a:gd name="connsiteY179" fmla="*/ 2131785 h 2323145"/>
              <a:gd name="connsiteX180" fmla="*/ 3541402 w 11269336"/>
              <a:gd name="connsiteY180" fmla="*/ 2106821 h 2323145"/>
              <a:gd name="connsiteX181" fmla="*/ 3365341 w 11269336"/>
              <a:gd name="connsiteY181" fmla="*/ 2077638 h 2323145"/>
              <a:gd name="connsiteX182" fmla="*/ 3170922 w 11269336"/>
              <a:gd name="connsiteY182" fmla="*/ 2115957 h 2323145"/>
              <a:gd name="connsiteX183" fmla="*/ 3156256 w 11269336"/>
              <a:gd name="connsiteY183" fmla="*/ 2124773 h 2323145"/>
              <a:gd name="connsiteX184" fmla="*/ 3140298 w 11269336"/>
              <a:gd name="connsiteY184" fmla="*/ 2129182 h 2323145"/>
              <a:gd name="connsiteX185" fmla="*/ 3138514 w 11269336"/>
              <a:gd name="connsiteY185" fmla="*/ 2128069 h 2323145"/>
              <a:gd name="connsiteX186" fmla="*/ 3120467 w 11269336"/>
              <a:gd name="connsiteY186" fmla="*/ 2128281 h 2323145"/>
              <a:gd name="connsiteX187" fmla="*/ 3116175 w 11269336"/>
              <a:gd name="connsiteY187" fmla="*/ 2131633 h 2323145"/>
              <a:gd name="connsiteX188" fmla="*/ 3103685 w 11269336"/>
              <a:gd name="connsiteY188" fmla="*/ 2132814 h 2323145"/>
              <a:gd name="connsiteX189" fmla="*/ 3078794 w 11269336"/>
              <a:gd name="connsiteY189" fmla="*/ 2137935 h 2323145"/>
              <a:gd name="connsiteX190" fmla="*/ 3074407 w 11269336"/>
              <a:gd name="connsiteY190" fmla="*/ 2136274 h 2323145"/>
              <a:gd name="connsiteX191" fmla="*/ 3037285 w 11269336"/>
              <a:gd name="connsiteY191" fmla="*/ 2139919 h 2323145"/>
              <a:gd name="connsiteX192" fmla="*/ 3036901 w 11269336"/>
              <a:gd name="connsiteY192" fmla="*/ 2138726 h 2323145"/>
              <a:gd name="connsiteX193" fmla="*/ 3026996 w 11269336"/>
              <a:gd name="connsiteY193" fmla="*/ 2134322 h 2323145"/>
              <a:gd name="connsiteX194" fmla="*/ 3007772 w 11269336"/>
              <a:gd name="connsiteY194" fmla="*/ 2128742 h 2323145"/>
              <a:gd name="connsiteX195" fmla="*/ 2965030 w 11269336"/>
              <a:gd name="connsiteY195" fmla="*/ 2100494 h 2323145"/>
              <a:gd name="connsiteX196" fmla="*/ 2926342 w 11269336"/>
              <a:gd name="connsiteY196" fmla="*/ 2104155 h 2323145"/>
              <a:gd name="connsiteX197" fmla="*/ 2918608 w 11269336"/>
              <a:gd name="connsiteY197" fmla="*/ 2104215 h 2323145"/>
              <a:gd name="connsiteX198" fmla="*/ 2918475 w 11269336"/>
              <a:gd name="connsiteY198" fmla="*/ 2103937 h 2323145"/>
              <a:gd name="connsiteX199" fmla="*/ 2910360 w 11269336"/>
              <a:gd name="connsiteY199" fmla="*/ 2103444 h 2323145"/>
              <a:gd name="connsiteX200" fmla="*/ 2904507 w 11269336"/>
              <a:gd name="connsiteY200" fmla="*/ 2104326 h 2323145"/>
              <a:gd name="connsiteX201" fmla="*/ 2889503 w 11269336"/>
              <a:gd name="connsiteY201" fmla="*/ 2104443 h 2323145"/>
              <a:gd name="connsiteX202" fmla="*/ 2884480 w 11269336"/>
              <a:gd name="connsiteY202" fmla="*/ 2102626 h 2323145"/>
              <a:gd name="connsiteX203" fmla="*/ 2882689 w 11269336"/>
              <a:gd name="connsiteY203" fmla="*/ 2099228 h 2323145"/>
              <a:gd name="connsiteX204" fmla="*/ 2881291 w 11269336"/>
              <a:gd name="connsiteY204" fmla="*/ 2099618 h 2323145"/>
              <a:gd name="connsiteX205" fmla="*/ 2853979 w 11269336"/>
              <a:gd name="connsiteY205" fmla="*/ 2090388 h 2323145"/>
              <a:gd name="connsiteX206" fmla="*/ 2791790 w 11269336"/>
              <a:gd name="connsiteY206" fmla="*/ 2080332 h 2323145"/>
              <a:gd name="connsiteX207" fmla="*/ 2755844 w 11269336"/>
              <a:gd name="connsiteY207" fmla="*/ 2078874 h 2323145"/>
              <a:gd name="connsiteX208" fmla="*/ 2657742 w 11269336"/>
              <a:gd name="connsiteY208" fmla="*/ 2070179 h 2323145"/>
              <a:gd name="connsiteX209" fmla="*/ 2559549 w 11269336"/>
              <a:gd name="connsiteY209" fmla="*/ 2057873 h 2323145"/>
              <a:gd name="connsiteX210" fmla="*/ 2512054 w 11269336"/>
              <a:gd name="connsiteY210" fmla="*/ 2031671 h 2323145"/>
              <a:gd name="connsiteX211" fmla="*/ 2506437 w 11269336"/>
              <a:gd name="connsiteY211" fmla="*/ 2030918 h 2323145"/>
              <a:gd name="connsiteX212" fmla="*/ 2491752 w 11269336"/>
              <a:gd name="connsiteY212" fmla="*/ 2033906 h 2323145"/>
              <a:gd name="connsiteX213" fmla="*/ 2486338 w 11269336"/>
              <a:gd name="connsiteY213" fmla="*/ 2035862 h 2323145"/>
              <a:gd name="connsiteX214" fmla="*/ 2478186 w 11269336"/>
              <a:gd name="connsiteY214" fmla="*/ 2036953 h 2323145"/>
              <a:gd name="connsiteX215" fmla="*/ 2477950 w 11269336"/>
              <a:gd name="connsiteY215" fmla="*/ 2036715 h 2323145"/>
              <a:gd name="connsiteX216" fmla="*/ 2470381 w 11269336"/>
              <a:gd name="connsiteY216" fmla="*/ 2038256 h 2323145"/>
              <a:gd name="connsiteX217" fmla="*/ 2433781 w 11269336"/>
              <a:gd name="connsiteY217" fmla="*/ 2049140 h 2323145"/>
              <a:gd name="connsiteX218" fmla="*/ 2381172 w 11269336"/>
              <a:gd name="connsiteY218" fmla="*/ 2030645 h 2323145"/>
              <a:gd name="connsiteX219" fmla="*/ 2360198 w 11269336"/>
              <a:gd name="connsiteY219" fmla="*/ 2029059 h 2323145"/>
              <a:gd name="connsiteX220" fmla="*/ 2348815 w 11269336"/>
              <a:gd name="connsiteY220" fmla="*/ 2026798 h 2323145"/>
              <a:gd name="connsiteX221" fmla="*/ 2347988 w 11269336"/>
              <a:gd name="connsiteY221" fmla="*/ 2025745 h 2323145"/>
              <a:gd name="connsiteX222" fmla="*/ 2312920 w 11269336"/>
              <a:gd name="connsiteY222" fmla="*/ 2036311 h 2323145"/>
              <a:gd name="connsiteX223" fmla="*/ 2307986 w 11269336"/>
              <a:gd name="connsiteY223" fmla="*/ 2035583 h 2323145"/>
              <a:gd name="connsiteX224" fmla="*/ 2285481 w 11269336"/>
              <a:gd name="connsiteY224" fmla="*/ 2045197 h 2323145"/>
              <a:gd name="connsiteX225" fmla="*/ 2273666 w 11269336"/>
              <a:gd name="connsiteY225" fmla="*/ 2048710 h 2323145"/>
              <a:gd name="connsiteX226" fmla="*/ 2270719 w 11269336"/>
              <a:gd name="connsiteY226" fmla="*/ 2052702 h 2323145"/>
              <a:gd name="connsiteX227" fmla="*/ 2253080 w 11269336"/>
              <a:gd name="connsiteY227" fmla="*/ 2056363 h 2323145"/>
              <a:gd name="connsiteX228" fmla="*/ 2250906 w 11269336"/>
              <a:gd name="connsiteY228" fmla="*/ 2055654 h 2323145"/>
              <a:gd name="connsiteX229" fmla="*/ 2236905 w 11269336"/>
              <a:gd name="connsiteY229" fmla="*/ 2062882 h 2323145"/>
              <a:gd name="connsiteX230" fmla="*/ 2225830 w 11269336"/>
              <a:gd name="connsiteY230" fmla="*/ 2074027 h 2323145"/>
              <a:gd name="connsiteX231" fmla="*/ 2073776 w 11269336"/>
              <a:gd name="connsiteY231" fmla="*/ 2089244 h 2323145"/>
              <a:gd name="connsiteX232" fmla="*/ 1948256 w 11269336"/>
              <a:gd name="connsiteY232" fmla="*/ 2146616 h 2323145"/>
              <a:gd name="connsiteX233" fmla="*/ 1865582 w 11269336"/>
              <a:gd name="connsiteY233" fmla="*/ 2153738 h 2323145"/>
              <a:gd name="connsiteX234" fmla="*/ 1835210 w 11269336"/>
              <a:gd name="connsiteY234" fmla="*/ 2134244 h 2323145"/>
              <a:gd name="connsiteX235" fmla="*/ 1632661 w 11269336"/>
              <a:gd name="connsiteY235" fmla="*/ 2173882 h 2323145"/>
              <a:gd name="connsiteX236" fmla="*/ 1579590 w 11269336"/>
              <a:gd name="connsiteY236" fmla="*/ 2173680 h 2323145"/>
              <a:gd name="connsiteX237" fmla="*/ 1535601 w 11269336"/>
              <a:gd name="connsiteY237" fmla="*/ 2194590 h 2323145"/>
              <a:gd name="connsiteX238" fmla="*/ 1515594 w 11269336"/>
              <a:gd name="connsiteY238" fmla="*/ 2189622 h 2323145"/>
              <a:gd name="connsiteX239" fmla="*/ 1512113 w 11269336"/>
              <a:gd name="connsiteY239" fmla="*/ 2188534 h 2323145"/>
              <a:gd name="connsiteX240" fmla="*/ 1498838 w 11269336"/>
              <a:gd name="connsiteY240" fmla="*/ 2189213 h 2323145"/>
              <a:gd name="connsiteX241" fmla="*/ 1494279 w 11269336"/>
              <a:gd name="connsiteY241" fmla="*/ 2183112 h 2323145"/>
              <a:gd name="connsiteX242" fmla="*/ 1473714 w 11269336"/>
              <a:gd name="connsiteY242" fmla="*/ 2179625 h 2323145"/>
              <a:gd name="connsiteX243" fmla="*/ 1449503 w 11269336"/>
              <a:gd name="connsiteY243" fmla="*/ 2182633 h 2323145"/>
              <a:gd name="connsiteX244" fmla="*/ 1266687 w 11269336"/>
              <a:gd name="connsiteY244" fmla="*/ 2212688 h 2323145"/>
              <a:gd name="connsiteX245" fmla="*/ 1239614 w 11269336"/>
              <a:gd name="connsiteY245" fmla="*/ 2209727 h 2323145"/>
              <a:gd name="connsiteX246" fmla="*/ 1202436 w 11269336"/>
              <a:gd name="connsiteY246" fmla="*/ 2209817 h 2323145"/>
              <a:gd name="connsiteX247" fmla="*/ 1136097 w 11269336"/>
              <a:gd name="connsiteY247" fmla="*/ 2205112 h 2323145"/>
              <a:gd name="connsiteX248" fmla="*/ 988232 w 11269336"/>
              <a:gd name="connsiteY248" fmla="*/ 2235635 h 2323145"/>
              <a:gd name="connsiteX249" fmla="*/ 981959 w 11269336"/>
              <a:gd name="connsiteY249" fmla="*/ 2231607 h 2323145"/>
              <a:gd name="connsiteX250" fmla="*/ 938600 w 11269336"/>
              <a:gd name="connsiteY250" fmla="*/ 2238113 h 2323145"/>
              <a:gd name="connsiteX251" fmla="*/ 791788 w 11269336"/>
              <a:gd name="connsiteY251" fmla="*/ 2293224 h 2323145"/>
              <a:gd name="connsiteX252" fmla="*/ 706914 w 11269336"/>
              <a:gd name="connsiteY252" fmla="*/ 2305046 h 2323145"/>
              <a:gd name="connsiteX253" fmla="*/ 675971 w 11269336"/>
              <a:gd name="connsiteY253" fmla="*/ 2304030 h 2323145"/>
              <a:gd name="connsiteX254" fmla="*/ 624180 w 11269336"/>
              <a:gd name="connsiteY254" fmla="*/ 2302650 h 2323145"/>
              <a:gd name="connsiteX255" fmla="*/ 583453 w 11269336"/>
              <a:gd name="connsiteY255" fmla="*/ 2288788 h 2323145"/>
              <a:gd name="connsiteX256" fmla="*/ 540946 w 11269336"/>
              <a:gd name="connsiteY256" fmla="*/ 2292721 h 2323145"/>
              <a:gd name="connsiteX257" fmla="*/ 533680 w 11269336"/>
              <a:gd name="connsiteY257" fmla="*/ 2310233 h 2323145"/>
              <a:gd name="connsiteX258" fmla="*/ 487366 w 11269336"/>
              <a:gd name="connsiteY258" fmla="*/ 2309053 h 2323145"/>
              <a:gd name="connsiteX259" fmla="*/ 416820 w 11269336"/>
              <a:gd name="connsiteY259" fmla="*/ 2305443 h 2323145"/>
              <a:gd name="connsiteX260" fmla="*/ 376805 w 11269336"/>
              <a:gd name="connsiteY260" fmla="*/ 2307647 h 2323145"/>
              <a:gd name="connsiteX261" fmla="*/ 266777 w 11269336"/>
              <a:gd name="connsiteY261" fmla="*/ 2309012 h 2323145"/>
              <a:gd name="connsiteX262" fmla="*/ 156013 w 11269336"/>
              <a:gd name="connsiteY262" fmla="*/ 2306832 h 2323145"/>
              <a:gd name="connsiteX263" fmla="*/ 87258 w 11269336"/>
              <a:gd name="connsiteY263" fmla="*/ 2285511 h 2323145"/>
              <a:gd name="connsiteX264" fmla="*/ 23798 w 11269336"/>
              <a:gd name="connsiteY264" fmla="*/ 2281822 h 2323145"/>
              <a:gd name="connsiteX265" fmla="*/ 0 w 11269336"/>
              <a:gd name="connsiteY265" fmla="*/ 2285369 h 2323145"/>
              <a:gd name="connsiteX266" fmla="*/ 0 w 11269336"/>
              <a:gd name="connsiteY266"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139429 w 11269336"/>
              <a:gd name="connsiteY20" fmla="*/ 696446 h 2323145"/>
              <a:gd name="connsiteX21" fmla="*/ 9028928 w 11269336"/>
              <a:gd name="connsiteY21" fmla="*/ 745350 h 2323145"/>
              <a:gd name="connsiteX22" fmla="*/ 8977138 w 11269336"/>
              <a:gd name="connsiteY22" fmla="*/ 774970 h 2323145"/>
              <a:gd name="connsiteX23" fmla="*/ 8947030 w 11269336"/>
              <a:gd name="connsiteY23" fmla="*/ 814934 h 2323145"/>
              <a:gd name="connsiteX24" fmla="*/ 8914746 w 11269336"/>
              <a:gd name="connsiteY24" fmla="*/ 826428 h 2323145"/>
              <a:gd name="connsiteX25" fmla="*/ 8917778 w 11269336"/>
              <a:gd name="connsiteY25" fmla="*/ 835198 h 2323145"/>
              <a:gd name="connsiteX26" fmla="*/ 8905560 w 11269336"/>
              <a:gd name="connsiteY26" fmla="*/ 838358 h 2323145"/>
              <a:gd name="connsiteX27" fmla="*/ 8897564 w 11269336"/>
              <a:gd name="connsiteY27" fmla="*/ 834287 h 2323145"/>
              <a:gd name="connsiteX28" fmla="*/ 8878040 w 11269336"/>
              <a:gd name="connsiteY28" fmla="*/ 844150 h 2323145"/>
              <a:gd name="connsiteX29" fmla="*/ 8882654 w 11269336"/>
              <a:gd name="connsiteY29" fmla="*/ 892768 h 2323145"/>
              <a:gd name="connsiteX30" fmla="*/ 8795998 w 11269336"/>
              <a:gd name="connsiteY30" fmla="*/ 863337 h 2323145"/>
              <a:gd name="connsiteX31" fmla="*/ 8776970 w 11269336"/>
              <a:gd name="connsiteY31" fmla="*/ 885177 h 2323145"/>
              <a:gd name="connsiteX32" fmla="*/ 8755719 w 11269336"/>
              <a:gd name="connsiteY32" fmla="*/ 889754 h 2323145"/>
              <a:gd name="connsiteX33" fmla="*/ 8743257 w 11269336"/>
              <a:gd name="connsiteY33" fmla="*/ 904723 h 2323145"/>
              <a:gd name="connsiteX34" fmla="*/ 8721366 w 11269336"/>
              <a:gd name="connsiteY34" fmla="*/ 904711 h 2323145"/>
              <a:gd name="connsiteX35" fmla="*/ 8678353 w 11269336"/>
              <a:gd name="connsiteY35" fmla="*/ 926318 h 2323145"/>
              <a:gd name="connsiteX36" fmla="*/ 8636849 w 11269336"/>
              <a:gd name="connsiteY36" fmla="*/ 937900 h 2323145"/>
              <a:gd name="connsiteX37" fmla="*/ 8620213 w 11269336"/>
              <a:gd name="connsiteY37" fmla="*/ 943068 h 2323145"/>
              <a:gd name="connsiteX38" fmla="*/ 8612581 w 11269336"/>
              <a:gd name="connsiteY38" fmla="*/ 952695 h 2323145"/>
              <a:gd name="connsiteX39" fmla="*/ 8589038 w 11269336"/>
              <a:gd name="connsiteY39" fmla="*/ 963892 h 2323145"/>
              <a:gd name="connsiteX40" fmla="*/ 8579950 w 11269336"/>
              <a:gd name="connsiteY40" fmla="*/ 960899 h 2323145"/>
              <a:gd name="connsiteX41" fmla="*/ 8579319 w 11269336"/>
              <a:gd name="connsiteY41" fmla="*/ 965630 h 2323145"/>
              <a:gd name="connsiteX42" fmla="*/ 8547429 w 11269336"/>
              <a:gd name="connsiteY42" fmla="*/ 984506 h 2323145"/>
              <a:gd name="connsiteX43" fmla="*/ 8478704 w 11269336"/>
              <a:gd name="connsiteY43" fmla="*/ 1025490 h 2323145"/>
              <a:gd name="connsiteX44" fmla="*/ 8461421 w 11269336"/>
              <a:gd name="connsiteY44" fmla="*/ 1035512 h 2323145"/>
              <a:gd name="connsiteX45" fmla="*/ 8445003 w 11269336"/>
              <a:gd name="connsiteY45" fmla="*/ 1036851 h 2323145"/>
              <a:gd name="connsiteX46" fmla="*/ 8357350 w 11269336"/>
              <a:gd name="connsiteY46" fmla="*/ 1060213 h 2323145"/>
              <a:gd name="connsiteX47" fmla="*/ 8335565 w 11269336"/>
              <a:gd name="connsiteY47" fmla="*/ 1061151 h 2323145"/>
              <a:gd name="connsiteX48" fmla="*/ 8325267 w 11269336"/>
              <a:gd name="connsiteY48" fmla="*/ 1055919 h 2323145"/>
              <a:gd name="connsiteX49" fmla="*/ 8293586 w 11269336"/>
              <a:gd name="connsiteY49" fmla="*/ 1076144 h 2323145"/>
              <a:gd name="connsiteX50" fmla="*/ 8242405 w 11269336"/>
              <a:gd name="connsiteY50" fmla="*/ 1095960 h 2323145"/>
              <a:gd name="connsiteX51" fmla="*/ 8197391 w 11269336"/>
              <a:gd name="connsiteY51" fmla="*/ 1107746 h 2323145"/>
              <a:gd name="connsiteX52" fmla="*/ 8081474 w 11269336"/>
              <a:gd name="connsiteY52" fmla="*/ 1130125 h 2323145"/>
              <a:gd name="connsiteX53" fmla="*/ 8053585 w 11269336"/>
              <a:gd name="connsiteY53" fmla="*/ 1129169 h 2323145"/>
              <a:gd name="connsiteX54" fmla="*/ 8038422 w 11269336"/>
              <a:gd name="connsiteY54" fmla="*/ 1119092 h 2323145"/>
              <a:gd name="connsiteX55" fmla="*/ 8029450 w 11269336"/>
              <a:gd name="connsiteY55" fmla="*/ 1125592 h 2323145"/>
              <a:gd name="connsiteX56" fmla="*/ 7959552 w 11269336"/>
              <a:gd name="connsiteY56" fmla="*/ 1140188 h 2323145"/>
              <a:gd name="connsiteX57" fmla="*/ 7914188 w 11269336"/>
              <a:gd name="connsiteY57" fmla="*/ 1150862 h 2323145"/>
              <a:gd name="connsiteX58" fmla="*/ 7914918 w 11269336"/>
              <a:gd name="connsiteY58" fmla="*/ 1168758 h 2323145"/>
              <a:gd name="connsiteX59" fmla="*/ 7875510 w 11269336"/>
              <a:gd name="connsiteY59" fmla="*/ 1183153 h 2323145"/>
              <a:gd name="connsiteX60" fmla="*/ 7829932 w 11269336"/>
              <a:gd name="connsiteY60" fmla="*/ 1180782 h 2323145"/>
              <a:gd name="connsiteX61" fmla="*/ 7779182 w 11269336"/>
              <a:gd name="connsiteY61" fmla="*/ 1192665 h 2323145"/>
              <a:gd name="connsiteX62" fmla="*/ 7748774 w 11269336"/>
              <a:gd name="connsiteY62" fmla="*/ 1199586 h 2323145"/>
              <a:gd name="connsiteX63" fmla="*/ 7671846 w 11269336"/>
              <a:gd name="connsiteY63" fmla="*/ 1231966 h 2323145"/>
              <a:gd name="connsiteX64" fmla="*/ 7554146 w 11269336"/>
              <a:gd name="connsiteY64" fmla="*/ 1319748 h 2323145"/>
              <a:gd name="connsiteX65" fmla="*/ 7515052 w 11269336"/>
              <a:gd name="connsiteY65" fmla="*/ 1336718 h 2323145"/>
              <a:gd name="connsiteX66" fmla="*/ 7507193 w 11269336"/>
              <a:gd name="connsiteY66" fmla="*/ 1334617 h 2323145"/>
              <a:gd name="connsiteX67" fmla="*/ 7461694 w 11269336"/>
              <a:gd name="connsiteY67" fmla="*/ 1375866 h 2323145"/>
              <a:gd name="connsiteX68" fmla="*/ 7377571 w 11269336"/>
              <a:gd name="connsiteY68" fmla="*/ 1400128 h 2323145"/>
              <a:gd name="connsiteX69" fmla="*/ 7311261 w 11269336"/>
              <a:gd name="connsiteY69" fmla="*/ 1412652 h 2323145"/>
              <a:gd name="connsiteX70" fmla="*/ 7275307 w 11269336"/>
              <a:gd name="connsiteY70" fmla="*/ 1422171 h 2323145"/>
              <a:gd name="connsiteX71" fmla="*/ 7247783 w 11269336"/>
              <a:gd name="connsiteY71" fmla="*/ 1426330 h 2323145"/>
              <a:gd name="connsiteX72" fmla="*/ 7185047 w 11269336"/>
              <a:gd name="connsiteY72" fmla="*/ 1451812 h 2323145"/>
              <a:gd name="connsiteX73" fmla="*/ 7084117 w 11269336"/>
              <a:gd name="connsiteY73" fmla="*/ 1500281 h 2323145"/>
              <a:gd name="connsiteX74" fmla="*/ 7062011 w 11269336"/>
              <a:gd name="connsiteY74" fmla="*/ 1509183 h 2323145"/>
              <a:gd name="connsiteX75" fmla="*/ 7040555 w 11269336"/>
              <a:gd name="connsiteY75" fmla="*/ 1511207 h 2323145"/>
              <a:gd name="connsiteX76" fmla="*/ 7033438 w 11269336"/>
              <a:gd name="connsiteY76" fmla="*/ 1506772 h 2323145"/>
              <a:gd name="connsiteX77" fmla="*/ 7020886 w 11269336"/>
              <a:gd name="connsiteY77" fmla="*/ 1510764 h 2323145"/>
              <a:gd name="connsiteX78" fmla="*/ 7017033 w 11269336"/>
              <a:gd name="connsiteY78" fmla="*/ 1510650 h 2323145"/>
              <a:gd name="connsiteX79" fmla="*/ 6995460 w 11269336"/>
              <a:gd name="connsiteY79" fmla="*/ 1511173 h 2323145"/>
              <a:gd name="connsiteX80" fmla="*/ 6962144 w 11269336"/>
              <a:gd name="connsiteY80" fmla="*/ 1541508 h 2323145"/>
              <a:gd name="connsiteX81" fmla="*/ 6910674 w 11269336"/>
              <a:gd name="connsiteY81" fmla="*/ 1554793 h 2323145"/>
              <a:gd name="connsiteX82" fmla="*/ 6732152 w 11269336"/>
              <a:gd name="connsiteY82" fmla="*/ 1642538 h 2323145"/>
              <a:gd name="connsiteX83" fmla="*/ 6694106 w 11269336"/>
              <a:gd name="connsiteY83" fmla="*/ 1632377 h 2323145"/>
              <a:gd name="connsiteX84" fmla="*/ 6617223 w 11269336"/>
              <a:gd name="connsiteY84" fmla="*/ 1659889 h 2323145"/>
              <a:gd name="connsiteX85" fmla="*/ 6521138 w 11269336"/>
              <a:gd name="connsiteY85" fmla="*/ 1744340 h 2323145"/>
              <a:gd name="connsiteX86" fmla="*/ 6380677 w 11269336"/>
              <a:gd name="connsiteY86" fmla="*/ 1796883 h 2323145"/>
              <a:gd name="connsiteX87" fmla="*/ 6374897 w 11269336"/>
              <a:gd name="connsiteY87" fmla="*/ 1809910 h 2323145"/>
              <a:gd name="connsiteX88" fmla="*/ 6364545 w 11269336"/>
              <a:gd name="connsiteY88" fmla="*/ 1820090 h 2323145"/>
              <a:gd name="connsiteX89" fmla="*/ 6362126 w 11269336"/>
              <a:gd name="connsiteY89" fmla="*/ 1819991 h 2323145"/>
              <a:gd name="connsiteX90" fmla="*/ 6346673 w 11269336"/>
              <a:gd name="connsiteY90" fmla="*/ 1827824 h 2323145"/>
              <a:gd name="connsiteX91" fmla="*/ 6345588 w 11269336"/>
              <a:gd name="connsiteY91" fmla="*/ 1832232 h 2323145"/>
              <a:gd name="connsiteX92" fmla="*/ 6335708 w 11269336"/>
              <a:gd name="connsiteY92" fmla="*/ 1838451 h 2323145"/>
              <a:gd name="connsiteX93" fmla="*/ 6318182 w 11269336"/>
              <a:gd name="connsiteY93" fmla="*/ 1852975 h 2323145"/>
              <a:gd name="connsiteX94" fmla="*/ 6313084 w 11269336"/>
              <a:gd name="connsiteY94" fmla="*/ 1853561 h 2323145"/>
              <a:gd name="connsiteX95" fmla="*/ 6283816 w 11269336"/>
              <a:gd name="connsiteY95" fmla="*/ 1872148 h 2323145"/>
              <a:gd name="connsiteX96" fmla="*/ 6282550 w 11269336"/>
              <a:gd name="connsiteY96" fmla="*/ 1871392 h 2323145"/>
              <a:gd name="connsiteX97" fmla="*/ 6270527 w 11269336"/>
              <a:gd name="connsiteY97" fmla="*/ 1872208 h 2323145"/>
              <a:gd name="connsiteX98" fmla="*/ 6249518 w 11269336"/>
              <a:gd name="connsiteY98" fmla="*/ 1876079 h 2323145"/>
              <a:gd name="connsiteX99" fmla="*/ 6190386 w 11269336"/>
              <a:gd name="connsiteY99" fmla="*/ 1872478 h 2323145"/>
              <a:gd name="connsiteX100" fmla="*/ 6159777 w 11269336"/>
              <a:gd name="connsiteY100" fmla="*/ 1891745 h 2323145"/>
              <a:gd name="connsiteX101" fmla="*/ 6153131 w 11269336"/>
              <a:gd name="connsiteY101" fmla="*/ 1895079 h 2323145"/>
              <a:gd name="connsiteX102" fmla="*/ 6152798 w 11269336"/>
              <a:gd name="connsiteY102" fmla="*/ 1894920 h 2323145"/>
              <a:gd name="connsiteX103" fmla="*/ 6145388 w 11269336"/>
              <a:gd name="connsiteY103" fmla="*/ 1897990 h 2323145"/>
              <a:gd name="connsiteX104" fmla="*/ 6141014 w 11269336"/>
              <a:gd name="connsiteY104" fmla="*/ 1901155 h 2323145"/>
              <a:gd name="connsiteX105" fmla="*/ 6128122 w 11269336"/>
              <a:gd name="connsiteY105" fmla="*/ 1907623 h 2323145"/>
              <a:gd name="connsiteX106" fmla="*/ 6122351 w 11269336"/>
              <a:gd name="connsiteY106" fmla="*/ 1908359 h 2323145"/>
              <a:gd name="connsiteX107" fmla="*/ 6064750 w 11269336"/>
              <a:gd name="connsiteY107" fmla="*/ 1896394 h 2323145"/>
              <a:gd name="connsiteX108" fmla="*/ 5964230 w 11269336"/>
              <a:gd name="connsiteY108" fmla="*/ 1910038 h 2323145"/>
              <a:gd name="connsiteX109" fmla="*/ 5865399 w 11269336"/>
              <a:gd name="connsiteY109" fmla="*/ 1926966 h 2323145"/>
              <a:gd name="connsiteX110" fmla="*/ 5829951 w 11269336"/>
              <a:gd name="connsiteY110" fmla="*/ 1934755 h 2323145"/>
              <a:gd name="connsiteX111" fmla="*/ 5765285 w 11269336"/>
              <a:gd name="connsiteY111" fmla="*/ 1941322 h 2323145"/>
              <a:gd name="connsiteX112" fmla="*/ 5734750 w 11269336"/>
              <a:gd name="connsiteY112" fmla="*/ 1939793 h 2323145"/>
              <a:gd name="connsiteX113" fmla="*/ 5733569 w 11269336"/>
              <a:gd name="connsiteY113" fmla="*/ 1940505 h 2323145"/>
              <a:gd name="connsiteX114" fmla="*/ 5730329 w 11269336"/>
              <a:gd name="connsiteY114" fmla="*/ 1937845 h 2323145"/>
              <a:gd name="connsiteX115" fmla="*/ 5724661 w 11269336"/>
              <a:gd name="connsiteY115" fmla="*/ 1937455 h 2323145"/>
              <a:gd name="connsiteX116" fmla="*/ 5710186 w 11269336"/>
              <a:gd name="connsiteY116" fmla="*/ 1941370 h 2323145"/>
              <a:gd name="connsiteX117" fmla="*/ 5704910 w 11269336"/>
              <a:gd name="connsiteY117" fmla="*/ 1943663 h 2323145"/>
              <a:gd name="connsiteX118" fmla="*/ 5696836 w 11269336"/>
              <a:gd name="connsiteY118" fmla="*/ 1945271 h 2323145"/>
              <a:gd name="connsiteX119" fmla="*/ 5696583 w 11269336"/>
              <a:gd name="connsiteY119" fmla="*/ 1945050 h 2323145"/>
              <a:gd name="connsiteX120" fmla="*/ 5689123 w 11269336"/>
              <a:gd name="connsiteY120" fmla="*/ 1947067 h 2323145"/>
              <a:gd name="connsiteX121" fmla="*/ 5653291 w 11269336"/>
              <a:gd name="connsiteY121" fmla="*/ 1960245 h 2323145"/>
              <a:gd name="connsiteX122" fmla="*/ 5599385 w 11269336"/>
              <a:gd name="connsiteY122" fmla="*/ 1945198 h 2323145"/>
              <a:gd name="connsiteX123" fmla="*/ 5578300 w 11269336"/>
              <a:gd name="connsiteY123" fmla="*/ 1944963 h 2323145"/>
              <a:gd name="connsiteX124" fmla="*/ 5566758 w 11269336"/>
              <a:gd name="connsiteY124" fmla="*/ 1943441 h 2323145"/>
              <a:gd name="connsiteX125" fmla="*/ 5565857 w 11269336"/>
              <a:gd name="connsiteY125" fmla="*/ 1942445 h 2323145"/>
              <a:gd name="connsiteX126" fmla="*/ 5531534 w 11269336"/>
              <a:gd name="connsiteY126" fmla="*/ 1955208 h 2323145"/>
              <a:gd name="connsiteX127" fmla="*/ 5526552 w 11269336"/>
              <a:gd name="connsiteY127" fmla="*/ 1954799 h 2323145"/>
              <a:gd name="connsiteX128" fmla="*/ 5504723 w 11269336"/>
              <a:gd name="connsiteY128" fmla="*/ 1965811 h 2323145"/>
              <a:gd name="connsiteX129" fmla="*/ 5493156 w 11269336"/>
              <a:gd name="connsiteY129" fmla="*/ 1970063 h 2323145"/>
              <a:gd name="connsiteX130" fmla="*/ 5490486 w 11269336"/>
              <a:gd name="connsiteY130" fmla="*/ 1974227 h 2323145"/>
              <a:gd name="connsiteX131" fmla="*/ 5473107 w 11269336"/>
              <a:gd name="connsiteY131" fmla="*/ 1979001 h 2323145"/>
              <a:gd name="connsiteX132" fmla="*/ 5470885 w 11269336"/>
              <a:gd name="connsiteY132" fmla="*/ 1978432 h 2323145"/>
              <a:gd name="connsiteX133" fmla="*/ 5457393 w 11269336"/>
              <a:gd name="connsiteY133" fmla="*/ 1986525 h 2323145"/>
              <a:gd name="connsiteX134" fmla="*/ 5447102 w 11269336"/>
              <a:gd name="connsiteY134" fmla="*/ 1998329 h 2323145"/>
              <a:gd name="connsiteX135" fmla="*/ 5159151 w 11269336"/>
              <a:gd name="connsiteY135" fmla="*/ 2029640 h 2323145"/>
              <a:gd name="connsiteX136" fmla="*/ 5041688 w 11269336"/>
              <a:gd name="connsiteY136" fmla="*/ 2022334 h 2323145"/>
              <a:gd name="connsiteX137" fmla="*/ 4860988 w 11269336"/>
              <a:gd name="connsiteY137" fmla="*/ 2135698 h 2323145"/>
              <a:gd name="connsiteX138" fmla="*/ 4807902 w 11269336"/>
              <a:gd name="connsiteY138" fmla="*/ 2138894 h 2323145"/>
              <a:gd name="connsiteX139" fmla="*/ 4765388 w 11269336"/>
              <a:gd name="connsiteY139" fmla="*/ 2162525 h 2323145"/>
              <a:gd name="connsiteX140" fmla="*/ 4745033 w 11269336"/>
              <a:gd name="connsiteY140" fmla="*/ 2158859 h 2323145"/>
              <a:gd name="connsiteX141" fmla="*/ 4741475 w 11269336"/>
              <a:gd name="connsiteY141" fmla="*/ 2157998 h 2323145"/>
              <a:gd name="connsiteX142" fmla="*/ 4728247 w 11269336"/>
              <a:gd name="connsiteY142" fmla="*/ 2159526 h 2323145"/>
              <a:gd name="connsiteX143" fmla="*/ 4723263 w 11269336"/>
              <a:gd name="connsiteY143" fmla="*/ 2153742 h 2323145"/>
              <a:gd name="connsiteX144" fmla="*/ 4702453 w 11269336"/>
              <a:gd name="connsiteY144" fmla="*/ 2151586 h 2323145"/>
              <a:gd name="connsiteX145" fmla="*/ 4678455 w 11269336"/>
              <a:gd name="connsiteY145" fmla="*/ 2156131 h 2323145"/>
              <a:gd name="connsiteX146" fmla="*/ 4593061 w 11269336"/>
              <a:gd name="connsiteY146" fmla="*/ 2171597 h 2323145"/>
              <a:gd name="connsiteX147" fmla="*/ 4579902 w 11269336"/>
              <a:gd name="connsiteY147" fmla="*/ 2177927 h 2323145"/>
              <a:gd name="connsiteX148" fmla="*/ 4533444 w 11269336"/>
              <a:gd name="connsiteY148" fmla="*/ 2181200 h 2323145"/>
              <a:gd name="connsiteX149" fmla="*/ 4492832 w 11269336"/>
              <a:gd name="connsiteY149" fmla="*/ 2188033 h 2323145"/>
              <a:gd name="connsiteX150" fmla="*/ 4467257 w 11269336"/>
              <a:gd name="connsiteY150" fmla="*/ 2196121 h 2323145"/>
              <a:gd name="connsiteX151" fmla="*/ 4459937 w 11269336"/>
              <a:gd name="connsiteY151" fmla="*/ 2195182 h 2323145"/>
              <a:gd name="connsiteX152" fmla="*/ 4433312 w 11269336"/>
              <a:gd name="connsiteY152" fmla="*/ 2199004 h 2323145"/>
              <a:gd name="connsiteX153" fmla="*/ 4420601 w 11269336"/>
              <a:gd name="connsiteY153" fmla="*/ 2205158 h 2323145"/>
              <a:gd name="connsiteX154" fmla="*/ 4405765 w 11269336"/>
              <a:gd name="connsiteY154" fmla="*/ 2199902 h 2323145"/>
              <a:gd name="connsiteX155" fmla="*/ 4401354 w 11269336"/>
              <a:gd name="connsiteY155" fmla="*/ 2194745 h 2323145"/>
              <a:gd name="connsiteX156" fmla="*/ 4383151 w 11269336"/>
              <a:gd name="connsiteY156" fmla="*/ 2201140 h 2323145"/>
              <a:gd name="connsiteX157" fmla="*/ 4366646 w 11269336"/>
              <a:gd name="connsiteY157" fmla="*/ 2198564 h 2323145"/>
              <a:gd name="connsiteX158" fmla="*/ 4354009 w 11269336"/>
              <a:gd name="connsiteY158" fmla="*/ 2204984 h 2323145"/>
              <a:gd name="connsiteX159" fmla="*/ 4348284 w 11269336"/>
              <a:gd name="connsiteY159" fmla="*/ 2205270 h 2323145"/>
              <a:gd name="connsiteX160" fmla="*/ 4333906 w 11269336"/>
              <a:gd name="connsiteY160" fmla="*/ 2205251 h 2323145"/>
              <a:gd name="connsiteX161" fmla="*/ 4308819 w 11269336"/>
              <a:gd name="connsiteY161" fmla="*/ 2203822 h 2323145"/>
              <a:gd name="connsiteX162" fmla="*/ 4301210 w 11269336"/>
              <a:gd name="connsiteY162" fmla="*/ 2204456 h 2323145"/>
              <a:gd name="connsiteX163" fmla="*/ 4283095 w 11269336"/>
              <a:gd name="connsiteY163" fmla="*/ 2198177 h 2323145"/>
              <a:gd name="connsiteX164" fmla="*/ 4250119 w 11269336"/>
              <a:gd name="connsiteY164" fmla="*/ 2196342 h 2323145"/>
              <a:gd name="connsiteX165" fmla="*/ 4189203 w 11269336"/>
              <a:gd name="connsiteY165" fmla="*/ 2178994 h 2323145"/>
              <a:gd name="connsiteX166" fmla="*/ 4154035 w 11269336"/>
              <a:gd name="connsiteY166" fmla="*/ 2171950 h 2323145"/>
              <a:gd name="connsiteX167" fmla="*/ 4129569 w 11269336"/>
              <a:gd name="connsiteY167" fmla="*/ 2163850 h 2323145"/>
              <a:gd name="connsiteX168" fmla="*/ 4061250 w 11269336"/>
              <a:gd name="connsiteY168" fmla="*/ 2159236 h 2323145"/>
              <a:gd name="connsiteX169" fmla="*/ 3945480 w 11269336"/>
              <a:gd name="connsiteY169" fmla="*/ 2158279 h 2323145"/>
              <a:gd name="connsiteX170" fmla="*/ 3921468 w 11269336"/>
              <a:gd name="connsiteY170" fmla="*/ 2156588 h 2323145"/>
              <a:gd name="connsiteX171" fmla="*/ 3903348 w 11269336"/>
              <a:gd name="connsiteY171" fmla="*/ 2149220 h 2323145"/>
              <a:gd name="connsiteX172" fmla="*/ 3901342 w 11269336"/>
              <a:gd name="connsiteY172" fmla="*/ 2142355 h 2323145"/>
              <a:gd name="connsiteX173" fmla="*/ 3888539 w 11269336"/>
              <a:gd name="connsiteY173" fmla="*/ 2140476 h 2323145"/>
              <a:gd name="connsiteX174" fmla="*/ 3885662 w 11269336"/>
              <a:gd name="connsiteY174" fmla="*/ 2138740 h 2323145"/>
              <a:gd name="connsiteX175" fmla="*/ 3868627 w 11269336"/>
              <a:gd name="connsiteY175" fmla="*/ 2130023 h 2323145"/>
              <a:gd name="connsiteX176" fmla="*/ 3819177 w 11269336"/>
              <a:gd name="connsiteY176" fmla="*/ 2142111 h 2323145"/>
              <a:gd name="connsiteX177" fmla="*/ 3769100 w 11269336"/>
              <a:gd name="connsiteY177" fmla="*/ 2131731 h 2323145"/>
              <a:gd name="connsiteX178" fmla="*/ 3562752 w 11269336"/>
              <a:gd name="connsiteY178" fmla="*/ 2131785 h 2323145"/>
              <a:gd name="connsiteX179" fmla="*/ 3541402 w 11269336"/>
              <a:gd name="connsiteY179" fmla="*/ 2106821 h 2323145"/>
              <a:gd name="connsiteX180" fmla="*/ 3365341 w 11269336"/>
              <a:gd name="connsiteY180" fmla="*/ 2077638 h 2323145"/>
              <a:gd name="connsiteX181" fmla="*/ 3170922 w 11269336"/>
              <a:gd name="connsiteY181" fmla="*/ 2115957 h 2323145"/>
              <a:gd name="connsiteX182" fmla="*/ 3156256 w 11269336"/>
              <a:gd name="connsiteY182" fmla="*/ 2124773 h 2323145"/>
              <a:gd name="connsiteX183" fmla="*/ 3140298 w 11269336"/>
              <a:gd name="connsiteY183" fmla="*/ 2129182 h 2323145"/>
              <a:gd name="connsiteX184" fmla="*/ 3138514 w 11269336"/>
              <a:gd name="connsiteY184" fmla="*/ 2128069 h 2323145"/>
              <a:gd name="connsiteX185" fmla="*/ 3120467 w 11269336"/>
              <a:gd name="connsiteY185" fmla="*/ 2128281 h 2323145"/>
              <a:gd name="connsiteX186" fmla="*/ 3116175 w 11269336"/>
              <a:gd name="connsiteY186" fmla="*/ 2131633 h 2323145"/>
              <a:gd name="connsiteX187" fmla="*/ 3103685 w 11269336"/>
              <a:gd name="connsiteY187" fmla="*/ 2132814 h 2323145"/>
              <a:gd name="connsiteX188" fmla="*/ 3078794 w 11269336"/>
              <a:gd name="connsiteY188" fmla="*/ 2137935 h 2323145"/>
              <a:gd name="connsiteX189" fmla="*/ 3074407 w 11269336"/>
              <a:gd name="connsiteY189" fmla="*/ 2136274 h 2323145"/>
              <a:gd name="connsiteX190" fmla="*/ 3037285 w 11269336"/>
              <a:gd name="connsiteY190" fmla="*/ 2139919 h 2323145"/>
              <a:gd name="connsiteX191" fmla="*/ 3036901 w 11269336"/>
              <a:gd name="connsiteY191" fmla="*/ 2138726 h 2323145"/>
              <a:gd name="connsiteX192" fmla="*/ 3026996 w 11269336"/>
              <a:gd name="connsiteY192" fmla="*/ 2134322 h 2323145"/>
              <a:gd name="connsiteX193" fmla="*/ 3007772 w 11269336"/>
              <a:gd name="connsiteY193" fmla="*/ 2128742 h 2323145"/>
              <a:gd name="connsiteX194" fmla="*/ 2965030 w 11269336"/>
              <a:gd name="connsiteY194" fmla="*/ 2100494 h 2323145"/>
              <a:gd name="connsiteX195" fmla="*/ 2926342 w 11269336"/>
              <a:gd name="connsiteY195" fmla="*/ 2104155 h 2323145"/>
              <a:gd name="connsiteX196" fmla="*/ 2918608 w 11269336"/>
              <a:gd name="connsiteY196" fmla="*/ 2104215 h 2323145"/>
              <a:gd name="connsiteX197" fmla="*/ 2918475 w 11269336"/>
              <a:gd name="connsiteY197" fmla="*/ 2103937 h 2323145"/>
              <a:gd name="connsiteX198" fmla="*/ 2910360 w 11269336"/>
              <a:gd name="connsiteY198" fmla="*/ 2103444 h 2323145"/>
              <a:gd name="connsiteX199" fmla="*/ 2904507 w 11269336"/>
              <a:gd name="connsiteY199" fmla="*/ 2104326 h 2323145"/>
              <a:gd name="connsiteX200" fmla="*/ 2889503 w 11269336"/>
              <a:gd name="connsiteY200" fmla="*/ 2104443 h 2323145"/>
              <a:gd name="connsiteX201" fmla="*/ 2884480 w 11269336"/>
              <a:gd name="connsiteY201" fmla="*/ 2102626 h 2323145"/>
              <a:gd name="connsiteX202" fmla="*/ 2882689 w 11269336"/>
              <a:gd name="connsiteY202" fmla="*/ 2099228 h 2323145"/>
              <a:gd name="connsiteX203" fmla="*/ 2881291 w 11269336"/>
              <a:gd name="connsiteY203" fmla="*/ 2099618 h 2323145"/>
              <a:gd name="connsiteX204" fmla="*/ 2853979 w 11269336"/>
              <a:gd name="connsiteY204" fmla="*/ 2090388 h 2323145"/>
              <a:gd name="connsiteX205" fmla="*/ 2791790 w 11269336"/>
              <a:gd name="connsiteY205" fmla="*/ 2080332 h 2323145"/>
              <a:gd name="connsiteX206" fmla="*/ 2755844 w 11269336"/>
              <a:gd name="connsiteY206" fmla="*/ 2078874 h 2323145"/>
              <a:gd name="connsiteX207" fmla="*/ 2657742 w 11269336"/>
              <a:gd name="connsiteY207" fmla="*/ 2070179 h 2323145"/>
              <a:gd name="connsiteX208" fmla="*/ 2559549 w 11269336"/>
              <a:gd name="connsiteY208" fmla="*/ 2057873 h 2323145"/>
              <a:gd name="connsiteX209" fmla="*/ 2512054 w 11269336"/>
              <a:gd name="connsiteY209" fmla="*/ 2031671 h 2323145"/>
              <a:gd name="connsiteX210" fmla="*/ 2506437 w 11269336"/>
              <a:gd name="connsiteY210" fmla="*/ 2030918 h 2323145"/>
              <a:gd name="connsiteX211" fmla="*/ 2491752 w 11269336"/>
              <a:gd name="connsiteY211" fmla="*/ 2033906 h 2323145"/>
              <a:gd name="connsiteX212" fmla="*/ 2486338 w 11269336"/>
              <a:gd name="connsiteY212" fmla="*/ 2035862 h 2323145"/>
              <a:gd name="connsiteX213" fmla="*/ 2478186 w 11269336"/>
              <a:gd name="connsiteY213" fmla="*/ 2036953 h 2323145"/>
              <a:gd name="connsiteX214" fmla="*/ 2477950 w 11269336"/>
              <a:gd name="connsiteY214" fmla="*/ 2036715 h 2323145"/>
              <a:gd name="connsiteX215" fmla="*/ 2470381 w 11269336"/>
              <a:gd name="connsiteY215" fmla="*/ 2038256 h 2323145"/>
              <a:gd name="connsiteX216" fmla="*/ 2433781 w 11269336"/>
              <a:gd name="connsiteY216" fmla="*/ 2049140 h 2323145"/>
              <a:gd name="connsiteX217" fmla="*/ 2381172 w 11269336"/>
              <a:gd name="connsiteY217" fmla="*/ 2030645 h 2323145"/>
              <a:gd name="connsiteX218" fmla="*/ 2360198 w 11269336"/>
              <a:gd name="connsiteY218" fmla="*/ 2029059 h 2323145"/>
              <a:gd name="connsiteX219" fmla="*/ 2348815 w 11269336"/>
              <a:gd name="connsiteY219" fmla="*/ 2026798 h 2323145"/>
              <a:gd name="connsiteX220" fmla="*/ 2347988 w 11269336"/>
              <a:gd name="connsiteY220" fmla="*/ 2025745 h 2323145"/>
              <a:gd name="connsiteX221" fmla="*/ 2312920 w 11269336"/>
              <a:gd name="connsiteY221" fmla="*/ 2036311 h 2323145"/>
              <a:gd name="connsiteX222" fmla="*/ 2307986 w 11269336"/>
              <a:gd name="connsiteY222" fmla="*/ 2035583 h 2323145"/>
              <a:gd name="connsiteX223" fmla="*/ 2285481 w 11269336"/>
              <a:gd name="connsiteY223" fmla="*/ 2045197 h 2323145"/>
              <a:gd name="connsiteX224" fmla="*/ 2273666 w 11269336"/>
              <a:gd name="connsiteY224" fmla="*/ 2048710 h 2323145"/>
              <a:gd name="connsiteX225" fmla="*/ 2270719 w 11269336"/>
              <a:gd name="connsiteY225" fmla="*/ 2052702 h 2323145"/>
              <a:gd name="connsiteX226" fmla="*/ 2253080 w 11269336"/>
              <a:gd name="connsiteY226" fmla="*/ 2056363 h 2323145"/>
              <a:gd name="connsiteX227" fmla="*/ 2250906 w 11269336"/>
              <a:gd name="connsiteY227" fmla="*/ 2055654 h 2323145"/>
              <a:gd name="connsiteX228" fmla="*/ 2236905 w 11269336"/>
              <a:gd name="connsiteY228" fmla="*/ 2062882 h 2323145"/>
              <a:gd name="connsiteX229" fmla="*/ 2225830 w 11269336"/>
              <a:gd name="connsiteY229" fmla="*/ 2074027 h 2323145"/>
              <a:gd name="connsiteX230" fmla="*/ 2073776 w 11269336"/>
              <a:gd name="connsiteY230" fmla="*/ 2089244 h 2323145"/>
              <a:gd name="connsiteX231" fmla="*/ 1948256 w 11269336"/>
              <a:gd name="connsiteY231" fmla="*/ 2146616 h 2323145"/>
              <a:gd name="connsiteX232" fmla="*/ 1865582 w 11269336"/>
              <a:gd name="connsiteY232" fmla="*/ 2153738 h 2323145"/>
              <a:gd name="connsiteX233" fmla="*/ 1835210 w 11269336"/>
              <a:gd name="connsiteY233" fmla="*/ 2134244 h 2323145"/>
              <a:gd name="connsiteX234" fmla="*/ 1632661 w 11269336"/>
              <a:gd name="connsiteY234" fmla="*/ 2173882 h 2323145"/>
              <a:gd name="connsiteX235" fmla="*/ 1579590 w 11269336"/>
              <a:gd name="connsiteY235" fmla="*/ 2173680 h 2323145"/>
              <a:gd name="connsiteX236" fmla="*/ 1535601 w 11269336"/>
              <a:gd name="connsiteY236" fmla="*/ 2194590 h 2323145"/>
              <a:gd name="connsiteX237" fmla="*/ 1515594 w 11269336"/>
              <a:gd name="connsiteY237" fmla="*/ 2189622 h 2323145"/>
              <a:gd name="connsiteX238" fmla="*/ 1512113 w 11269336"/>
              <a:gd name="connsiteY238" fmla="*/ 2188534 h 2323145"/>
              <a:gd name="connsiteX239" fmla="*/ 1498838 w 11269336"/>
              <a:gd name="connsiteY239" fmla="*/ 2189213 h 2323145"/>
              <a:gd name="connsiteX240" fmla="*/ 1494279 w 11269336"/>
              <a:gd name="connsiteY240" fmla="*/ 2183112 h 2323145"/>
              <a:gd name="connsiteX241" fmla="*/ 1473714 w 11269336"/>
              <a:gd name="connsiteY241" fmla="*/ 2179625 h 2323145"/>
              <a:gd name="connsiteX242" fmla="*/ 1449503 w 11269336"/>
              <a:gd name="connsiteY242" fmla="*/ 2182633 h 2323145"/>
              <a:gd name="connsiteX243" fmla="*/ 1266687 w 11269336"/>
              <a:gd name="connsiteY243" fmla="*/ 2212688 h 2323145"/>
              <a:gd name="connsiteX244" fmla="*/ 1239614 w 11269336"/>
              <a:gd name="connsiteY244" fmla="*/ 2209727 h 2323145"/>
              <a:gd name="connsiteX245" fmla="*/ 1202436 w 11269336"/>
              <a:gd name="connsiteY245" fmla="*/ 2209817 h 2323145"/>
              <a:gd name="connsiteX246" fmla="*/ 1136097 w 11269336"/>
              <a:gd name="connsiteY246" fmla="*/ 2205112 h 2323145"/>
              <a:gd name="connsiteX247" fmla="*/ 988232 w 11269336"/>
              <a:gd name="connsiteY247" fmla="*/ 2235635 h 2323145"/>
              <a:gd name="connsiteX248" fmla="*/ 981959 w 11269336"/>
              <a:gd name="connsiteY248" fmla="*/ 2231607 h 2323145"/>
              <a:gd name="connsiteX249" fmla="*/ 938600 w 11269336"/>
              <a:gd name="connsiteY249" fmla="*/ 2238113 h 2323145"/>
              <a:gd name="connsiteX250" fmla="*/ 791788 w 11269336"/>
              <a:gd name="connsiteY250" fmla="*/ 2293224 h 2323145"/>
              <a:gd name="connsiteX251" fmla="*/ 706914 w 11269336"/>
              <a:gd name="connsiteY251" fmla="*/ 2305046 h 2323145"/>
              <a:gd name="connsiteX252" fmla="*/ 675971 w 11269336"/>
              <a:gd name="connsiteY252" fmla="*/ 2304030 h 2323145"/>
              <a:gd name="connsiteX253" fmla="*/ 624180 w 11269336"/>
              <a:gd name="connsiteY253" fmla="*/ 2302650 h 2323145"/>
              <a:gd name="connsiteX254" fmla="*/ 583453 w 11269336"/>
              <a:gd name="connsiteY254" fmla="*/ 2288788 h 2323145"/>
              <a:gd name="connsiteX255" fmla="*/ 540946 w 11269336"/>
              <a:gd name="connsiteY255" fmla="*/ 2292721 h 2323145"/>
              <a:gd name="connsiteX256" fmla="*/ 533680 w 11269336"/>
              <a:gd name="connsiteY256" fmla="*/ 2310233 h 2323145"/>
              <a:gd name="connsiteX257" fmla="*/ 487366 w 11269336"/>
              <a:gd name="connsiteY257" fmla="*/ 2309053 h 2323145"/>
              <a:gd name="connsiteX258" fmla="*/ 416820 w 11269336"/>
              <a:gd name="connsiteY258" fmla="*/ 2305443 h 2323145"/>
              <a:gd name="connsiteX259" fmla="*/ 376805 w 11269336"/>
              <a:gd name="connsiteY259" fmla="*/ 2307647 h 2323145"/>
              <a:gd name="connsiteX260" fmla="*/ 266777 w 11269336"/>
              <a:gd name="connsiteY260" fmla="*/ 2309012 h 2323145"/>
              <a:gd name="connsiteX261" fmla="*/ 156013 w 11269336"/>
              <a:gd name="connsiteY261" fmla="*/ 2306832 h 2323145"/>
              <a:gd name="connsiteX262" fmla="*/ 87258 w 11269336"/>
              <a:gd name="connsiteY262" fmla="*/ 2285511 h 2323145"/>
              <a:gd name="connsiteX263" fmla="*/ 23798 w 11269336"/>
              <a:gd name="connsiteY263" fmla="*/ 2281822 h 2323145"/>
              <a:gd name="connsiteX264" fmla="*/ 0 w 11269336"/>
              <a:gd name="connsiteY264" fmla="*/ 2285369 h 2323145"/>
              <a:gd name="connsiteX265" fmla="*/ 0 w 11269336"/>
              <a:gd name="connsiteY265"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028928 w 11269336"/>
              <a:gd name="connsiteY21" fmla="*/ 745350 h 2323145"/>
              <a:gd name="connsiteX22" fmla="*/ 8977138 w 11269336"/>
              <a:gd name="connsiteY22" fmla="*/ 774970 h 2323145"/>
              <a:gd name="connsiteX23" fmla="*/ 8947030 w 11269336"/>
              <a:gd name="connsiteY23" fmla="*/ 814934 h 2323145"/>
              <a:gd name="connsiteX24" fmla="*/ 8914746 w 11269336"/>
              <a:gd name="connsiteY24" fmla="*/ 826428 h 2323145"/>
              <a:gd name="connsiteX25" fmla="*/ 8917778 w 11269336"/>
              <a:gd name="connsiteY25" fmla="*/ 835198 h 2323145"/>
              <a:gd name="connsiteX26" fmla="*/ 8905560 w 11269336"/>
              <a:gd name="connsiteY26" fmla="*/ 838358 h 2323145"/>
              <a:gd name="connsiteX27" fmla="*/ 8897564 w 11269336"/>
              <a:gd name="connsiteY27" fmla="*/ 834287 h 2323145"/>
              <a:gd name="connsiteX28" fmla="*/ 8878040 w 11269336"/>
              <a:gd name="connsiteY28" fmla="*/ 844150 h 2323145"/>
              <a:gd name="connsiteX29" fmla="*/ 8882654 w 11269336"/>
              <a:gd name="connsiteY29" fmla="*/ 892768 h 2323145"/>
              <a:gd name="connsiteX30" fmla="*/ 8795998 w 11269336"/>
              <a:gd name="connsiteY30" fmla="*/ 863337 h 2323145"/>
              <a:gd name="connsiteX31" fmla="*/ 8776970 w 11269336"/>
              <a:gd name="connsiteY31" fmla="*/ 885177 h 2323145"/>
              <a:gd name="connsiteX32" fmla="*/ 8755719 w 11269336"/>
              <a:gd name="connsiteY32" fmla="*/ 889754 h 2323145"/>
              <a:gd name="connsiteX33" fmla="*/ 8743257 w 11269336"/>
              <a:gd name="connsiteY33" fmla="*/ 904723 h 2323145"/>
              <a:gd name="connsiteX34" fmla="*/ 8721366 w 11269336"/>
              <a:gd name="connsiteY34" fmla="*/ 904711 h 2323145"/>
              <a:gd name="connsiteX35" fmla="*/ 8678353 w 11269336"/>
              <a:gd name="connsiteY35" fmla="*/ 926318 h 2323145"/>
              <a:gd name="connsiteX36" fmla="*/ 8636849 w 11269336"/>
              <a:gd name="connsiteY36" fmla="*/ 937900 h 2323145"/>
              <a:gd name="connsiteX37" fmla="*/ 8620213 w 11269336"/>
              <a:gd name="connsiteY37" fmla="*/ 943068 h 2323145"/>
              <a:gd name="connsiteX38" fmla="*/ 8612581 w 11269336"/>
              <a:gd name="connsiteY38" fmla="*/ 952695 h 2323145"/>
              <a:gd name="connsiteX39" fmla="*/ 8589038 w 11269336"/>
              <a:gd name="connsiteY39" fmla="*/ 963892 h 2323145"/>
              <a:gd name="connsiteX40" fmla="*/ 8579950 w 11269336"/>
              <a:gd name="connsiteY40" fmla="*/ 960899 h 2323145"/>
              <a:gd name="connsiteX41" fmla="*/ 8579319 w 11269336"/>
              <a:gd name="connsiteY41" fmla="*/ 965630 h 2323145"/>
              <a:gd name="connsiteX42" fmla="*/ 8547429 w 11269336"/>
              <a:gd name="connsiteY42" fmla="*/ 984506 h 2323145"/>
              <a:gd name="connsiteX43" fmla="*/ 8478704 w 11269336"/>
              <a:gd name="connsiteY43" fmla="*/ 1025490 h 2323145"/>
              <a:gd name="connsiteX44" fmla="*/ 8461421 w 11269336"/>
              <a:gd name="connsiteY44" fmla="*/ 1035512 h 2323145"/>
              <a:gd name="connsiteX45" fmla="*/ 8445003 w 11269336"/>
              <a:gd name="connsiteY45" fmla="*/ 1036851 h 2323145"/>
              <a:gd name="connsiteX46" fmla="*/ 8357350 w 11269336"/>
              <a:gd name="connsiteY46" fmla="*/ 1060213 h 2323145"/>
              <a:gd name="connsiteX47" fmla="*/ 8335565 w 11269336"/>
              <a:gd name="connsiteY47" fmla="*/ 1061151 h 2323145"/>
              <a:gd name="connsiteX48" fmla="*/ 8325267 w 11269336"/>
              <a:gd name="connsiteY48" fmla="*/ 1055919 h 2323145"/>
              <a:gd name="connsiteX49" fmla="*/ 8293586 w 11269336"/>
              <a:gd name="connsiteY49" fmla="*/ 1076144 h 2323145"/>
              <a:gd name="connsiteX50" fmla="*/ 8242405 w 11269336"/>
              <a:gd name="connsiteY50" fmla="*/ 1095960 h 2323145"/>
              <a:gd name="connsiteX51" fmla="*/ 8197391 w 11269336"/>
              <a:gd name="connsiteY51" fmla="*/ 1107746 h 2323145"/>
              <a:gd name="connsiteX52" fmla="*/ 8081474 w 11269336"/>
              <a:gd name="connsiteY52" fmla="*/ 1130125 h 2323145"/>
              <a:gd name="connsiteX53" fmla="*/ 8053585 w 11269336"/>
              <a:gd name="connsiteY53" fmla="*/ 1129169 h 2323145"/>
              <a:gd name="connsiteX54" fmla="*/ 8038422 w 11269336"/>
              <a:gd name="connsiteY54" fmla="*/ 1119092 h 2323145"/>
              <a:gd name="connsiteX55" fmla="*/ 8029450 w 11269336"/>
              <a:gd name="connsiteY55" fmla="*/ 1125592 h 2323145"/>
              <a:gd name="connsiteX56" fmla="*/ 7959552 w 11269336"/>
              <a:gd name="connsiteY56" fmla="*/ 1140188 h 2323145"/>
              <a:gd name="connsiteX57" fmla="*/ 7914188 w 11269336"/>
              <a:gd name="connsiteY57" fmla="*/ 1150862 h 2323145"/>
              <a:gd name="connsiteX58" fmla="*/ 7914918 w 11269336"/>
              <a:gd name="connsiteY58" fmla="*/ 1168758 h 2323145"/>
              <a:gd name="connsiteX59" fmla="*/ 7875510 w 11269336"/>
              <a:gd name="connsiteY59" fmla="*/ 1183153 h 2323145"/>
              <a:gd name="connsiteX60" fmla="*/ 7829932 w 11269336"/>
              <a:gd name="connsiteY60" fmla="*/ 1180782 h 2323145"/>
              <a:gd name="connsiteX61" fmla="*/ 7779182 w 11269336"/>
              <a:gd name="connsiteY61" fmla="*/ 1192665 h 2323145"/>
              <a:gd name="connsiteX62" fmla="*/ 7748774 w 11269336"/>
              <a:gd name="connsiteY62" fmla="*/ 1199586 h 2323145"/>
              <a:gd name="connsiteX63" fmla="*/ 7671846 w 11269336"/>
              <a:gd name="connsiteY63" fmla="*/ 1231966 h 2323145"/>
              <a:gd name="connsiteX64" fmla="*/ 7554146 w 11269336"/>
              <a:gd name="connsiteY64" fmla="*/ 1319748 h 2323145"/>
              <a:gd name="connsiteX65" fmla="*/ 7515052 w 11269336"/>
              <a:gd name="connsiteY65" fmla="*/ 1336718 h 2323145"/>
              <a:gd name="connsiteX66" fmla="*/ 7507193 w 11269336"/>
              <a:gd name="connsiteY66" fmla="*/ 1334617 h 2323145"/>
              <a:gd name="connsiteX67" fmla="*/ 7461694 w 11269336"/>
              <a:gd name="connsiteY67" fmla="*/ 1375866 h 2323145"/>
              <a:gd name="connsiteX68" fmla="*/ 7377571 w 11269336"/>
              <a:gd name="connsiteY68" fmla="*/ 1400128 h 2323145"/>
              <a:gd name="connsiteX69" fmla="*/ 7311261 w 11269336"/>
              <a:gd name="connsiteY69" fmla="*/ 1412652 h 2323145"/>
              <a:gd name="connsiteX70" fmla="*/ 7275307 w 11269336"/>
              <a:gd name="connsiteY70" fmla="*/ 1422171 h 2323145"/>
              <a:gd name="connsiteX71" fmla="*/ 7247783 w 11269336"/>
              <a:gd name="connsiteY71" fmla="*/ 1426330 h 2323145"/>
              <a:gd name="connsiteX72" fmla="*/ 7185047 w 11269336"/>
              <a:gd name="connsiteY72" fmla="*/ 1451812 h 2323145"/>
              <a:gd name="connsiteX73" fmla="*/ 7084117 w 11269336"/>
              <a:gd name="connsiteY73" fmla="*/ 1500281 h 2323145"/>
              <a:gd name="connsiteX74" fmla="*/ 7062011 w 11269336"/>
              <a:gd name="connsiteY74" fmla="*/ 1509183 h 2323145"/>
              <a:gd name="connsiteX75" fmla="*/ 7040555 w 11269336"/>
              <a:gd name="connsiteY75" fmla="*/ 1511207 h 2323145"/>
              <a:gd name="connsiteX76" fmla="*/ 7033438 w 11269336"/>
              <a:gd name="connsiteY76" fmla="*/ 1506772 h 2323145"/>
              <a:gd name="connsiteX77" fmla="*/ 7020886 w 11269336"/>
              <a:gd name="connsiteY77" fmla="*/ 1510764 h 2323145"/>
              <a:gd name="connsiteX78" fmla="*/ 7017033 w 11269336"/>
              <a:gd name="connsiteY78" fmla="*/ 1510650 h 2323145"/>
              <a:gd name="connsiteX79" fmla="*/ 6995460 w 11269336"/>
              <a:gd name="connsiteY79" fmla="*/ 1511173 h 2323145"/>
              <a:gd name="connsiteX80" fmla="*/ 6962144 w 11269336"/>
              <a:gd name="connsiteY80" fmla="*/ 1541508 h 2323145"/>
              <a:gd name="connsiteX81" fmla="*/ 6910674 w 11269336"/>
              <a:gd name="connsiteY81" fmla="*/ 1554793 h 2323145"/>
              <a:gd name="connsiteX82" fmla="*/ 6732152 w 11269336"/>
              <a:gd name="connsiteY82" fmla="*/ 1642538 h 2323145"/>
              <a:gd name="connsiteX83" fmla="*/ 6694106 w 11269336"/>
              <a:gd name="connsiteY83" fmla="*/ 1632377 h 2323145"/>
              <a:gd name="connsiteX84" fmla="*/ 6617223 w 11269336"/>
              <a:gd name="connsiteY84" fmla="*/ 1659889 h 2323145"/>
              <a:gd name="connsiteX85" fmla="*/ 6521138 w 11269336"/>
              <a:gd name="connsiteY85" fmla="*/ 1744340 h 2323145"/>
              <a:gd name="connsiteX86" fmla="*/ 6380677 w 11269336"/>
              <a:gd name="connsiteY86" fmla="*/ 1796883 h 2323145"/>
              <a:gd name="connsiteX87" fmla="*/ 6374897 w 11269336"/>
              <a:gd name="connsiteY87" fmla="*/ 1809910 h 2323145"/>
              <a:gd name="connsiteX88" fmla="*/ 6364545 w 11269336"/>
              <a:gd name="connsiteY88" fmla="*/ 1820090 h 2323145"/>
              <a:gd name="connsiteX89" fmla="*/ 6362126 w 11269336"/>
              <a:gd name="connsiteY89" fmla="*/ 1819991 h 2323145"/>
              <a:gd name="connsiteX90" fmla="*/ 6346673 w 11269336"/>
              <a:gd name="connsiteY90" fmla="*/ 1827824 h 2323145"/>
              <a:gd name="connsiteX91" fmla="*/ 6345588 w 11269336"/>
              <a:gd name="connsiteY91" fmla="*/ 1832232 h 2323145"/>
              <a:gd name="connsiteX92" fmla="*/ 6335708 w 11269336"/>
              <a:gd name="connsiteY92" fmla="*/ 1838451 h 2323145"/>
              <a:gd name="connsiteX93" fmla="*/ 6318182 w 11269336"/>
              <a:gd name="connsiteY93" fmla="*/ 1852975 h 2323145"/>
              <a:gd name="connsiteX94" fmla="*/ 6313084 w 11269336"/>
              <a:gd name="connsiteY94" fmla="*/ 1853561 h 2323145"/>
              <a:gd name="connsiteX95" fmla="*/ 6283816 w 11269336"/>
              <a:gd name="connsiteY95" fmla="*/ 1872148 h 2323145"/>
              <a:gd name="connsiteX96" fmla="*/ 6282550 w 11269336"/>
              <a:gd name="connsiteY96" fmla="*/ 1871392 h 2323145"/>
              <a:gd name="connsiteX97" fmla="*/ 6270527 w 11269336"/>
              <a:gd name="connsiteY97" fmla="*/ 1872208 h 2323145"/>
              <a:gd name="connsiteX98" fmla="*/ 6249518 w 11269336"/>
              <a:gd name="connsiteY98" fmla="*/ 1876079 h 2323145"/>
              <a:gd name="connsiteX99" fmla="*/ 6190386 w 11269336"/>
              <a:gd name="connsiteY99" fmla="*/ 1872478 h 2323145"/>
              <a:gd name="connsiteX100" fmla="*/ 6159777 w 11269336"/>
              <a:gd name="connsiteY100" fmla="*/ 1891745 h 2323145"/>
              <a:gd name="connsiteX101" fmla="*/ 6153131 w 11269336"/>
              <a:gd name="connsiteY101" fmla="*/ 1895079 h 2323145"/>
              <a:gd name="connsiteX102" fmla="*/ 6152798 w 11269336"/>
              <a:gd name="connsiteY102" fmla="*/ 1894920 h 2323145"/>
              <a:gd name="connsiteX103" fmla="*/ 6145388 w 11269336"/>
              <a:gd name="connsiteY103" fmla="*/ 1897990 h 2323145"/>
              <a:gd name="connsiteX104" fmla="*/ 6141014 w 11269336"/>
              <a:gd name="connsiteY104" fmla="*/ 1901155 h 2323145"/>
              <a:gd name="connsiteX105" fmla="*/ 6128122 w 11269336"/>
              <a:gd name="connsiteY105" fmla="*/ 1907623 h 2323145"/>
              <a:gd name="connsiteX106" fmla="*/ 6122351 w 11269336"/>
              <a:gd name="connsiteY106" fmla="*/ 1908359 h 2323145"/>
              <a:gd name="connsiteX107" fmla="*/ 6064750 w 11269336"/>
              <a:gd name="connsiteY107" fmla="*/ 1896394 h 2323145"/>
              <a:gd name="connsiteX108" fmla="*/ 5964230 w 11269336"/>
              <a:gd name="connsiteY108" fmla="*/ 1910038 h 2323145"/>
              <a:gd name="connsiteX109" fmla="*/ 5865399 w 11269336"/>
              <a:gd name="connsiteY109" fmla="*/ 1926966 h 2323145"/>
              <a:gd name="connsiteX110" fmla="*/ 5829951 w 11269336"/>
              <a:gd name="connsiteY110" fmla="*/ 1934755 h 2323145"/>
              <a:gd name="connsiteX111" fmla="*/ 5765285 w 11269336"/>
              <a:gd name="connsiteY111" fmla="*/ 1941322 h 2323145"/>
              <a:gd name="connsiteX112" fmla="*/ 5734750 w 11269336"/>
              <a:gd name="connsiteY112" fmla="*/ 1939793 h 2323145"/>
              <a:gd name="connsiteX113" fmla="*/ 5733569 w 11269336"/>
              <a:gd name="connsiteY113" fmla="*/ 1940505 h 2323145"/>
              <a:gd name="connsiteX114" fmla="*/ 5730329 w 11269336"/>
              <a:gd name="connsiteY114" fmla="*/ 1937845 h 2323145"/>
              <a:gd name="connsiteX115" fmla="*/ 5724661 w 11269336"/>
              <a:gd name="connsiteY115" fmla="*/ 1937455 h 2323145"/>
              <a:gd name="connsiteX116" fmla="*/ 5710186 w 11269336"/>
              <a:gd name="connsiteY116" fmla="*/ 1941370 h 2323145"/>
              <a:gd name="connsiteX117" fmla="*/ 5704910 w 11269336"/>
              <a:gd name="connsiteY117" fmla="*/ 1943663 h 2323145"/>
              <a:gd name="connsiteX118" fmla="*/ 5696836 w 11269336"/>
              <a:gd name="connsiteY118" fmla="*/ 1945271 h 2323145"/>
              <a:gd name="connsiteX119" fmla="*/ 5696583 w 11269336"/>
              <a:gd name="connsiteY119" fmla="*/ 1945050 h 2323145"/>
              <a:gd name="connsiteX120" fmla="*/ 5689123 w 11269336"/>
              <a:gd name="connsiteY120" fmla="*/ 1947067 h 2323145"/>
              <a:gd name="connsiteX121" fmla="*/ 5653291 w 11269336"/>
              <a:gd name="connsiteY121" fmla="*/ 1960245 h 2323145"/>
              <a:gd name="connsiteX122" fmla="*/ 5599385 w 11269336"/>
              <a:gd name="connsiteY122" fmla="*/ 1945198 h 2323145"/>
              <a:gd name="connsiteX123" fmla="*/ 5578300 w 11269336"/>
              <a:gd name="connsiteY123" fmla="*/ 1944963 h 2323145"/>
              <a:gd name="connsiteX124" fmla="*/ 5566758 w 11269336"/>
              <a:gd name="connsiteY124" fmla="*/ 1943441 h 2323145"/>
              <a:gd name="connsiteX125" fmla="*/ 5565857 w 11269336"/>
              <a:gd name="connsiteY125" fmla="*/ 1942445 h 2323145"/>
              <a:gd name="connsiteX126" fmla="*/ 5531534 w 11269336"/>
              <a:gd name="connsiteY126" fmla="*/ 1955208 h 2323145"/>
              <a:gd name="connsiteX127" fmla="*/ 5526552 w 11269336"/>
              <a:gd name="connsiteY127" fmla="*/ 1954799 h 2323145"/>
              <a:gd name="connsiteX128" fmla="*/ 5504723 w 11269336"/>
              <a:gd name="connsiteY128" fmla="*/ 1965811 h 2323145"/>
              <a:gd name="connsiteX129" fmla="*/ 5493156 w 11269336"/>
              <a:gd name="connsiteY129" fmla="*/ 1970063 h 2323145"/>
              <a:gd name="connsiteX130" fmla="*/ 5490486 w 11269336"/>
              <a:gd name="connsiteY130" fmla="*/ 1974227 h 2323145"/>
              <a:gd name="connsiteX131" fmla="*/ 5473107 w 11269336"/>
              <a:gd name="connsiteY131" fmla="*/ 1979001 h 2323145"/>
              <a:gd name="connsiteX132" fmla="*/ 5470885 w 11269336"/>
              <a:gd name="connsiteY132" fmla="*/ 1978432 h 2323145"/>
              <a:gd name="connsiteX133" fmla="*/ 5457393 w 11269336"/>
              <a:gd name="connsiteY133" fmla="*/ 1986525 h 2323145"/>
              <a:gd name="connsiteX134" fmla="*/ 5447102 w 11269336"/>
              <a:gd name="connsiteY134" fmla="*/ 1998329 h 2323145"/>
              <a:gd name="connsiteX135" fmla="*/ 5159151 w 11269336"/>
              <a:gd name="connsiteY135" fmla="*/ 2029640 h 2323145"/>
              <a:gd name="connsiteX136" fmla="*/ 5041688 w 11269336"/>
              <a:gd name="connsiteY136" fmla="*/ 2022334 h 2323145"/>
              <a:gd name="connsiteX137" fmla="*/ 4860988 w 11269336"/>
              <a:gd name="connsiteY137" fmla="*/ 2135698 h 2323145"/>
              <a:gd name="connsiteX138" fmla="*/ 4807902 w 11269336"/>
              <a:gd name="connsiteY138" fmla="*/ 2138894 h 2323145"/>
              <a:gd name="connsiteX139" fmla="*/ 4765388 w 11269336"/>
              <a:gd name="connsiteY139" fmla="*/ 2162525 h 2323145"/>
              <a:gd name="connsiteX140" fmla="*/ 4745033 w 11269336"/>
              <a:gd name="connsiteY140" fmla="*/ 2158859 h 2323145"/>
              <a:gd name="connsiteX141" fmla="*/ 4741475 w 11269336"/>
              <a:gd name="connsiteY141" fmla="*/ 2157998 h 2323145"/>
              <a:gd name="connsiteX142" fmla="*/ 4728247 w 11269336"/>
              <a:gd name="connsiteY142" fmla="*/ 2159526 h 2323145"/>
              <a:gd name="connsiteX143" fmla="*/ 4723263 w 11269336"/>
              <a:gd name="connsiteY143" fmla="*/ 2153742 h 2323145"/>
              <a:gd name="connsiteX144" fmla="*/ 4702453 w 11269336"/>
              <a:gd name="connsiteY144" fmla="*/ 2151586 h 2323145"/>
              <a:gd name="connsiteX145" fmla="*/ 4678455 w 11269336"/>
              <a:gd name="connsiteY145" fmla="*/ 2156131 h 2323145"/>
              <a:gd name="connsiteX146" fmla="*/ 4593061 w 11269336"/>
              <a:gd name="connsiteY146" fmla="*/ 2171597 h 2323145"/>
              <a:gd name="connsiteX147" fmla="*/ 4579902 w 11269336"/>
              <a:gd name="connsiteY147" fmla="*/ 2177927 h 2323145"/>
              <a:gd name="connsiteX148" fmla="*/ 4533444 w 11269336"/>
              <a:gd name="connsiteY148" fmla="*/ 2181200 h 2323145"/>
              <a:gd name="connsiteX149" fmla="*/ 4492832 w 11269336"/>
              <a:gd name="connsiteY149" fmla="*/ 2188033 h 2323145"/>
              <a:gd name="connsiteX150" fmla="*/ 4467257 w 11269336"/>
              <a:gd name="connsiteY150" fmla="*/ 2196121 h 2323145"/>
              <a:gd name="connsiteX151" fmla="*/ 4459937 w 11269336"/>
              <a:gd name="connsiteY151" fmla="*/ 2195182 h 2323145"/>
              <a:gd name="connsiteX152" fmla="*/ 4433312 w 11269336"/>
              <a:gd name="connsiteY152" fmla="*/ 2199004 h 2323145"/>
              <a:gd name="connsiteX153" fmla="*/ 4420601 w 11269336"/>
              <a:gd name="connsiteY153" fmla="*/ 2205158 h 2323145"/>
              <a:gd name="connsiteX154" fmla="*/ 4405765 w 11269336"/>
              <a:gd name="connsiteY154" fmla="*/ 2199902 h 2323145"/>
              <a:gd name="connsiteX155" fmla="*/ 4401354 w 11269336"/>
              <a:gd name="connsiteY155" fmla="*/ 2194745 h 2323145"/>
              <a:gd name="connsiteX156" fmla="*/ 4383151 w 11269336"/>
              <a:gd name="connsiteY156" fmla="*/ 2201140 h 2323145"/>
              <a:gd name="connsiteX157" fmla="*/ 4366646 w 11269336"/>
              <a:gd name="connsiteY157" fmla="*/ 2198564 h 2323145"/>
              <a:gd name="connsiteX158" fmla="*/ 4354009 w 11269336"/>
              <a:gd name="connsiteY158" fmla="*/ 2204984 h 2323145"/>
              <a:gd name="connsiteX159" fmla="*/ 4348284 w 11269336"/>
              <a:gd name="connsiteY159" fmla="*/ 2205270 h 2323145"/>
              <a:gd name="connsiteX160" fmla="*/ 4333906 w 11269336"/>
              <a:gd name="connsiteY160" fmla="*/ 2205251 h 2323145"/>
              <a:gd name="connsiteX161" fmla="*/ 4308819 w 11269336"/>
              <a:gd name="connsiteY161" fmla="*/ 2203822 h 2323145"/>
              <a:gd name="connsiteX162" fmla="*/ 4301210 w 11269336"/>
              <a:gd name="connsiteY162" fmla="*/ 2204456 h 2323145"/>
              <a:gd name="connsiteX163" fmla="*/ 4283095 w 11269336"/>
              <a:gd name="connsiteY163" fmla="*/ 2198177 h 2323145"/>
              <a:gd name="connsiteX164" fmla="*/ 4250119 w 11269336"/>
              <a:gd name="connsiteY164" fmla="*/ 2196342 h 2323145"/>
              <a:gd name="connsiteX165" fmla="*/ 4189203 w 11269336"/>
              <a:gd name="connsiteY165" fmla="*/ 2178994 h 2323145"/>
              <a:gd name="connsiteX166" fmla="*/ 4154035 w 11269336"/>
              <a:gd name="connsiteY166" fmla="*/ 2171950 h 2323145"/>
              <a:gd name="connsiteX167" fmla="*/ 4129569 w 11269336"/>
              <a:gd name="connsiteY167" fmla="*/ 2163850 h 2323145"/>
              <a:gd name="connsiteX168" fmla="*/ 4061250 w 11269336"/>
              <a:gd name="connsiteY168" fmla="*/ 2159236 h 2323145"/>
              <a:gd name="connsiteX169" fmla="*/ 3945480 w 11269336"/>
              <a:gd name="connsiteY169" fmla="*/ 2158279 h 2323145"/>
              <a:gd name="connsiteX170" fmla="*/ 3921468 w 11269336"/>
              <a:gd name="connsiteY170" fmla="*/ 2156588 h 2323145"/>
              <a:gd name="connsiteX171" fmla="*/ 3903348 w 11269336"/>
              <a:gd name="connsiteY171" fmla="*/ 2149220 h 2323145"/>
              <a:gd name="connsiteX172" fmla="*/ 3901342 w 11269336"/>
              <a:gd name="connsiteY172" fmla="*/ 2142355 h 2323145"/>
              <a:gd name="connsiteX173" fmla="*/ 3888539 w 11269336"/>
              <a:gd name="connsiteY173" fmla="*/ 2140476 h 2323145"/>
              <a:gd name="connsiteX174" fmla="*/ 3885662 w 11269336"/>
              <a:gd name="connsiteY174" fmla="*/ 2138740 h 2323145"/>
              <a:gd name="connsiteX175" fmla="*/ 3868627 w 11269336"/>
              <a:gd name="connsiteY175" fmla="*/ 2130023 h 2323145"/>
              <a:gd name="connsiteX176" fmla="*/ 3819177 w 11269336"/>
              <a:gd name="connsiteY176" fmla="*/ 2142111 h 2323145"/>
              <a:gd name="connsiteX177" fmla="*/ 3769100 w 11269336"/>
              <a:gd name="connsiteY177" fmla="*/ 2131731 h 2323145"/>
              <a:gd name="connsiteX178" fmla="*/ 3562752 w 11269336"/>
              <a:gd name="connsiteY178" fmla="*/ 2131785 h 2323145"/>
              <a:gd name="connsiteX179" fmla="*/ 3541402 w 11269336"/>
              <a:gd name="connsiteY179" fmla="*/ 2106821 h 2323145"/>
              <a:gd name="connsiteX180" fmla="*/ 3365341 w 11269336"/>
              <a:gd name="connsiteY180" fmla="*/ 2077638 h 2323145"/>
              <a:gd name="connsiteX181" fmla="*/ 3170922 w 11269336"/>
              <a:gd name="connsiteY181" fmla="*/ 2115957 h 2323145"/>
              <a:gd name="connsiteX182" fmla="*/ 3156256 w 11269336"/>
              <a:gd name="connsiteY182" fmla="*/ 2124773 h 2323145"/>
              <a:gd name="connsiteX183" fmla="*/ 3140298 w 11269336"/>
              <a:gd name="connsiteY183" fmla="*/ 2129182 h 2323145"/>
              <a:gd name="connsiteX184" fmla="*/ 3138514 w 11269336"/>
              <a:gd name="connsiteY184" fmla="*/ 2128069 h 2323145"/>
              <a:gd name="connsiteX185" fmla="*/ 3120467 w 11269336"/>
              <a:gd name="connsiteY185" fmla="*/ 2128281 h 2323145"/>
              <a:gd name="connsiteX186" fmla="*/ 3116175 w 11269336"/>
              <a:gd name="connsiteY186" fmla="*/ 2131633 h 2323145"/>
              <a:gd name="connsiteX187" fmla="*/ 3103685 w 11269336"/>
              <a:gd name="connsiteY187" fmla="*/ 2132814 h 2323145"/>
              <a:gd name="connsiteX188" fmla="*/ 3078794 w 11269336"/>
              <a:gd name="connsiteY188" fmla="*/ 2137935 h 2323145"/>
              <a:gd name="connsiteX189" fmla="*/ 3074407 w 11269336"/>
              <a:gd name="connsiteY189" fmla="*/ 2136274 h 2323145"/>
              <a:gd name="connsiteX190" fmla="*/ 3037285 w 11269336"/>
              <a:gd name="connsiteY190" fmla="*/ 2139919 h 2323145"/>
              <a:gd name="connsiteX191" fmla="*/ 3036901 w 11269336"/>
              <a:gd name="connsiteY191" fmla="*/ 2138726 h 2323145"/>
              <a:gd name="connsiteX192" fmla="*/ 3026996 w 11269336"/>
              <a:gd name="connsiteY192" fmla="*/ 2134322 h 2323145"/>
              <a:gd name="connsiteX193" fmla="*/ 3007772 w 11269336"/>
              <a:gd name="connsiteY193" fmla="*/ 2128742 h 2323145"/>
              <a:gd name="connsiteX194" fmla="*/ 2965030 w 11269336"/>
              <a:gd name="connsiteY194" fmla="*/ 2100494 h 2323145"/>
              <a:gd name="connsiteX195" fmla="*/ 2926342 w 11269336"/>
              <a:gd name="connsiteY195" fmla="*/ 2104155 h 2323145"/>
              <a:gd name="connsiteX196" fmla="*/ 2918608 w 11269336"/>
              <a:gd name="connsiteY196" fmla="*/ 2104215 h 2323145"/>
              <a:gd name="connsiteX197" fmla="*/ 2918475 w 11269336"/>
              <a:gd name="connsiteY197" fmla="*/ 2103937 h 2323145"/>
              <a:gd name="connsiteX198" fmla="*/ 2910360 w 11269336"/>
              <a:gd name="connsiteY198" fmla="*/ 2103444 h 2323145"/>
              <a:gd name="connsiteX199" fmla="*/ 2904507 w 11269336"/>
              <a:gd name="connsiteY199" fmla="*/ 2104326 h 2323145"/>
              <a:gd name="connsiteX200" fmla="*/ 2889503 w 11269336"/>
              <a:gd name="connsiteY200" fmla="*/ 2104443 h 2323145"/>
              <a:gd name="connsiteX201" fmla="*/ 2884480 w 11269336"/>
              <a:gd name="connsiteY201" fmla="*/ 2102626 h 2323145"/>
              <a:gd name="connsiteX202" fmla="*/ 2882689 w 11269336"/>
              <a:gd name="connsiteY202" fmla="*/ 2099228 h 2323145"/>
              <a:gd name="connsiteX203" fmla="*/ 2881291 w 11269336"/>
              <a:gd name="connsiteY203" fmla="*/ 2099618 h 2323145"/>
              <a:gd name="connsiteX204" fmla="*/ 2853979 w 11269336"/>
              <a:gd name="connsiteY204" fmla="*/ 2090388 h 2323145"/>
              <a:gd name="connsiteX205" fmla="*/ 2791790 w 11269336"/>
              <a:gd name="connsiteY205" fmla="*/ 2080332 h 2323145"/>
              <a:gd name="connsiteX206" fmla="*/ 2755844 w 11269336"/>
              <a:gd name="connsiteY206" fmla="*/ 2078874 h 2323145"/>
              <a:gd name="connsiteX207" fmla="*/ 2657742 w 11269336"/>
              <a:gd name="connsiteY207" fmla="*/ 2070179 h 2323145"/>
              <a:gd name="connsiteX208" fmla="*/ 2559549 w 11269336"/>
              <a:gd name="connsiteY208" fmla="*/ 2057873 h 2323145"/>
              <a:gd name="connsiteX209" fmla="*/ 2512054 w 11269336"/>
              <a:gd name="connsiteY209" fmla="*/ 2031671 h 2323145"/>
              <a:gd name="connsiteX210" fmla="*/ 2506437 w 11269336"/>
              <a:gd name="connsiteY210" fmla="*/ 2030918 h 2323145"/>
              <a:gd name="connsiteX211" fmla="*/ 2491752 w 11269336"/>
              <a:gd name="connsiteY211" fmla="*/ 2033906 h 2323145"/>
              <a:gd name="connsiteX212" fmla="*/ 2486338 w 11269336"/>
              <a:gd name="connsiteY212" fmla="*/ 2035862 h 2323145"/>
              <a:gd name="connsiteX213" fmla="*/ 2478186 w 11269336"/>
              <a:gd name="connsiteY213" fmla="*/ 2036953 h 2323145"/>
              <a:gd name="connsiteX214" fmla="*/ 2477950 w 11269336"/>
              <a:gd name="connsiteY214" fmla="*/ 2036715 h 2323145"/>
              <a:gd name="connsiteX215" fmla="*/ 2470381 w 11269336"/>
              <a:gd name="connsiteY215" fmla="*/ 2038256 h 2323145"/>
              <a:gd name="connsiteX216" fmla="*/ 2433781 w 11269336"/>
              <a:gd name="connsiteY216" fmla="*/ 2049140 h 2323145"/>
              <a:gd name="connsiteX217" fmla="*/ 2381172 w 11269336"/>
              <a:gd name="connsiteY217" fmla="*/ 2030645 h 2323145"/>
              <a:gd name="connsiteX218" fmla="*/ 2360198 w 11269336"/>
              <a:gd name="connsiteY218" fmla="*/ 2029059 h 2323145"/>
              <a:gd name="connsiteX219" fmla="*/ 2348815 w 11269336"/>
              <a:gd name="connsiteY219" fmla="*/ 2026798 h 2323145"/>
              <a:gd name="connsiteX220" fmla="*/ 2347988 w 11269336"/>
              <a:gd name="connsiteY220" fmla="*/ 2025745 h 2323145"/>
              <a:gd name="connsiteX221" fmla="*/ 2312920 w 11269336"/>
              <a:gd name="connsiteY221" fmla="*/ 2036311 h 2323145"/>
              <a:gd name="connsiteX222" fmla="*/ 2307986 w 11269336"/>
              <a:gd name="connsiteY222" fmla="*/ 2035583 h 2323145"/>
              <a:gd name="connsiteX223" fmla="*/ 2285481 w 11269336"/>
              <a:gd name="connsiteY223" fmla="*/ 2045197 h 2323145"/>
              <a:gd name="connsiteX224" fmla="*/ 2273666 w 11269336"/>
              <a:gd name="connsiteY224" fmla="*/ 2048710 h 2323145"/>
              <a:gd name="connsiteX225" fmla="*/ 2270719 w 11269336"/>
              <a:gd name="connsiteY225" fmla="*/ 2052702 h 2323145"/>
              <a:gd name="connsiteX226" fmla="*/ 2253080 w 11269336"/>
              <a:gd name="connsiteY226" fmla="*/ 2056363 h 2323145"/>
              <a:gd name="connsiteX227" fmla="*/ 2250906 w 11269336"/>
              <a:gd name="connsiteY227" fmla="*/ 2055654 h 2323145"/>
              <a:gd name="connsiteX228" fmla="*/ 2236905 w 11269336"/>
              <a:gd name="connsiteY228" fmla="*/ 2062882 h 2323145"/>
              <a:gd name="connsiteX229" fmla="*/ 2225830 w 11269336"/>
              <a:gd name="connsiteY229" fmla="*/ 2074027 h 2323145"/>
              <a:gd name="connsiteX230" fmla="*/ 2073776 w 11269336"/>
              <a:gd name="connsiteY230" fmla="*/ 2089244 h 2323145"/>
              <a:gd name="connsiteX231" fmla="*/ 1948256 w 11269336"/>
              <a:gd name="connsiteY231" fmla="*/ 2146616 h 2323145"/>
              <a:gd name="connsiteX232" fmla="*/ 1865582 w 11269336"/>
              <a:gd name="connsiteY232" fmla="*/ 2153738 h 2323145"/>
              <a:gd name="connsiteX233" fmla="*/ 1835210 w 11269336"/>
              <a:gd name="connsiteY233" fmla="*/ 2134244 h 2323145"/>
              <a:gd name="connsiteX234" fmla="*/ 1632661 w 11269336"/>
              <a:gd name="connsiteY234" fmla="*/ 2173882 h 2323145"/>
              <a:gd name="connsiteX235" fmla="*/ 1579590 w 11269336"/>
              <a:gd name="connsiteY235" fmla="*/ 2173680 h 2323145"/>
              <a:gd name="connsiteX236" fmla="*/ 1535601 w 11269336"/>
              <a:gd name="connsiteY236" fmla="*/ 2194590 h 2323145"/>
              <a:gd name="connsiteX237" fmla="*/ 1515594 w 11269336"/>
              <a:gd name="connsiteY237" fmla="*/ 2189622 h 2323145"/>
              <a:gd name="connsiteX238" fmla="*/ 1512113 w 11269336"/>
              <a:gd name="connsiteY238" fmla="*/ 2188534 h 2323145"/>
              <a:gd name="connsiteX239" fmla="*/ 1498838 w 11269336"/>
              <a:gd name="connsiteY239" fmla="*/ 2189213 h 2323145"/>
              <a:gd name="connsiteX240" fmla="*/ 1494279 w 11269336"/>
              <a:gd name="connsiteY240" fmla="*/ 2183112 h 2323145"/>
              <a:gd name="connsiteX241" fmla="*/ 1473714 w 11269336"/>
              <a:gd name="connsiteY241" fmla="*/ 2179625 h 2323145"/>
              <a:gd name="connsiteX242" fmla="*/ 1449503 w 11269336"/>
              <a:gd name="connsiteY242" fmla="*/ 2182633 h 2323145"/>
              <a:gd name="connsiteX243" fmla="*/ 1266687 w 11269336"/>
              <a:gd name="connsiteY243" fmla="*/ 2212688 h 2323145"/>
              <a:gd name="connsiteX244" fmla="*/ 1239614 w 11269336"/>
              <a:gd name="connsiteY244" fmla="*/ 2209727 h 2323145"/>
              <a:gd name="connsiteX245" fmla="*/ 1202436 w 11269336"/>
              <a:gd name="connsiteY245" fmla="*/ 2209817 h 2323145"/>
              <a:gd name="connsiteX246" fmla="*/ 1136097 w 11269336"/>
              <a:gd name="connsiteY246" fmla="*/ 2205112 h 2323145"/>
              <a:gd name="connsiteX247" fmla="*/ 988232 w 11269336"/>
              <a:gd name="connsiteY247" fmla="*/ 2235635 h 2323145"/>
              <a:gd name="connsiteX248" fmla="*/ 981959 w 11269336"/>
              <a:gd name="connsiteY248" fmla="*/ 2231607 h 2323145"/>
              <a:gd name="connsiteX249" fmla="*/ 938600 w 11269336"/>
              <a:gd name="connsiteY249" fmla="*/ 2238113 h 2323145"/>
              <a:gd name="connsiteX250" fmla="*/ 791788 w 11269336"/>
              <a:gd name="connsiteY250" fmla="*/ 2293224 h 2323145"/>
              <a:gd name="connsiteX251" fmla="*/ 706914 w 11269336"/>
              <a:gd name="connsiteY251" fmla="*/ 2305046 h 2323145"/>
              <a:gd name="connsiteX252" fmla="*/ 675971 w 11269336"/>
              <a:gd name="connsiteY252" fmla="*/ 2304030 h 2323145"/>
              <a:gd name="connsiteX253" fmla="*/ 624180 w 11269336"/>
              <a:gd name="connsiteY253" fmla="*/ 2302650 h 2323145"/>
              <a:gd name="connsiteX254" fmla="*/ 583453 w 11269336"/>
              <a:gd name="connsiteY254" fmla="*/ 2288788 h 2323145"/>
              <a:gd name="connsiteX255" fmla="*/ 540946 w 11269336"/>
              <a:gd name="connsiteY255" fmla="*/ 2292721 h 2323145"/>
              <a:gd name="connsiteX256" fmla="*/ 533680 w 11269336"/>
              <a:gd name="connsiteY256" fmla="*/ 2310233 h 2323145"/>
              <a:gd name="connsiteX257" fmla="*/ 487366 w 11269336"/>
              <a:gd name="connsiteY257" fmla="*/ 2309053 h 2323145"/>
              <a:gd name="connsiteX258" fmla="*/ 416820 w 11269336"/>
              <a:gd name="connsiteY258" fmla="*/ 2305443 h 2323145"/>
              <a:gd name="connsiteX259" fmla="*/ 376805 w 11269336"/>
              <a:gd name="connsiteY259" fmla="*/ 2307647 h 2323145"/>
              <a:gd name="connsiteX260" fmla="*/ 266777 w 11269336"/>
              <a:gd name="connsiteY260" fmla="*/ 2309012 h 2323145"/>
              <a:gd name="connsiteX261" fmla="*/ 156013 w 11269336"/>
              <a:gd name="connsiteY261" fmla="*/ 2306832 h 2323145"/>
              <a:gd name="connsiteX262" fmla="*/ 87258 w 11269336"/>
              <a:gd name="connsiteY262" fmla="*/ 2285511 h 2323145"/>
              <a:gd name="connsiteX263" fmla="*/ 23798 w 11269336"/>
              <a:gd name="connsiteY263" fmla="*/ 2281822 h 2323145"/>
              <a:gd name="connsiteX264" fmla="*/ 0 w 11269336"/>
              <a:gd name="connsiteY264" fmla="*/ 2285369 h 2323145"/>
              <a:gd name="connsiteX265" fmla="*/ 0 w 11269336"/>
              <a:gd name="connsiteY265"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162278 w 11269336"/>
              <a:gd name="connsiteY21" fmla="*/ 704724 h 2323145"/>
              <a:gd name="connsiteX22" fmla="*/ 8977138 w 11269336"/>
              <a:gd name="connsiteY22" fmla="*/ 774970 h 2323145"/>
              <a:gd name="connsiteX23" fmla="*/ 8947030 w 11269336"/>
              <a:gd name="connsiteY23" fmla="*/ 814934 h 2323145"/>
              <a:gd name="connsiteX24" fmla="*/ 8914746 w 11269336"/>
              <a:gd name="connsiteY24" fmla="*/ 826428 h 2323145"/>
              <a:gd name="connsiteX25" fmla="*/ 8917778 w 11269336"/>
              <a:gd name="connsiteY25" fmla="*/ 835198 h 2323145"/>
              <a:gd name="connsiteX26" fmla="*/ 8905560 w 11269336"/>
              <a:gd name="connsiteY26" fmla="*/ 838358 h 2323145"/>
              <a:gd name="connsiteX27" fmla="*/ 8897564 w 11269336"/>
              <a:gd name="connsiteY27" fmla="*/ 834287 h 2323145"/>
              <a:gd name="connsiteX28" fmla="*/ 8878040 w 11269336"/>
              <a:gd name="connsiteY28" fmla="*/ 844150 h 2323145"/>
              <a:gd name="connsiteX29" fmla="*/ 8882654 w 11269336"/>
              <a:gd name="connsiteY29" fmla="*/ 892768 h 2323145"/>
              <a:gd name="connsiteX30" fmla="*/ 8795998 w 11269336"/>
              <a:gd name="connsiteY30" fmla="*/ 863337 h 2323145"/>
              <a:gd name="connsiteX31" fmla="*/ 8776970 w 11269336"/>
              <a:gd name="connsiteY31" fmla="*/ 885177 h 2323145"/>
              <a:gd name="connsiteX32" fmla="*/ 8755719 w 11269336"/>
              <a:gd name="connsiteY32" fmla="*/ 889754 h 2323145"/>
              <a:gd name="connsiteX33" fmla="*/ 8743257 w 11269336"/>
              <a:gd name="connsiteY33" fmla="*/ 904723 h 2323145"/>
              <a:gd name="connsiteX34" fmla="*/ 8721366 w 11269336"/>
              <a:gd name="connsiteY34" fmla="*/ 904711 h 2323145"/>
              <a:gd name="connsiteX35" fmla="*/ 8678353 w 11269336"/>
              <a:gd name="connsiteY35" fmla="*/ 926318 h 2323145"/>
              <a:gd name="connsiteX36" fmla="*/ 8636849 w 11269336"/>
              <a:gd name="connsiteY36" fmla="*/ 937900 h 2323145"/>
              <a:gd name="connsiteX37" fmla="*/ 8620213 w 11269336"/>
              <a:gd name="connsiteY37" fmla="*/ 943068 h 2323145"/>
              <a:gd name="connsiteX38" fmla="*/ 8612581 w 11269336"/>
              <a:gd name="connsiteY38" fmla="*/ 952695 h 2323145"/>
              <a:gd name="connsiteX39" fmla="*/ 8589038 w 11269336"/>
              <a:gd name="connsiteY39" fmla="*/ 963892 h 2323145"/>
              <a:gd name="connsiteX40" fmla="*/ 8579950 w 11269336"/>
              <a:gd name="connsiteY40" fmla="*/ 960899 h 2323145"/>
              <a:gd name="connsiteX41" fmla="*/ 8579319 w 11269336"/>
              <a:gd name="connsiteY41" fmla="*/ 965630 h 2323145"/>
              <a:gd name="connsiteX42" fmla="*/ 8547429 w 11269336"/>
              <a:gd name="connsiteY42" fmla="*/ 984506 h 2323145"/>
              <a:gd name="connsiteX43" fmla="*/ 8478704 w 11269336"/>
              <a:gd name="connsiteY43" fmla="*/ 1025490 h 2323145"/>
              <a:gd name="connsiteX44" fmla="*/ 8461421 w 11269336"/>
              <a:gd name="connsiteY44" fmla="*/ 1035512 h 2323145"/>
              <a:gd name="connsiteX45" fmla="*/ 8445003 w 11269336"/>
              <a:gd name="connsiteY45" fmla="*/ 1036851 h 2323145"/>
              <a:gd name="connsiteX46" fmla="*/ 8357350 w 11269336"/>
              <a:gd name="connsiteY46" fmla="*/ 1060213 h 2323145"/>
              <a:gd name="connsiteX47" fmla="*/ 8335565 w 11269336"/>
              <a:gd name="connsiteY47" fmla="*/ 1061151 h 2323145"/>
              <a:gd name="connsiteX48" fmla="*/ 8325267 w 11269336"/>
              <a:gd name="connsiteY48" fmla="*/ 1055919 h 2323145"/>
              <a:gd name="connsiteX49" fmla="*/ 8293586 w 11269336"/>
              <a:gd name="connsiteY49" fmla="*/ 1076144 h 2323145"/>
              <a:gd name="connsiteX50" fmla="*/ 8242405 w 11269336"/>
              <a:gd name="connsiteY50" fmla="*/ 1095960 h 2323145"/>
              <a:gd name="connsiteX51" fmla="*/ 8197391 w 11269336"/>
              <a:gd name="connsiteY51" fmla="*/ 1107746 h 2323145"/>
              <a:gd name="connsiteX52" fmla="*/ 8081474 w 11269336"/>
              <a:gd name="connsiteY52" fmla="*/ 1130125 h 2323145"/>
              <a:gd name="connsiteX53" fmla="*/ 8053585 w 11269336"/>
              <a:gd name="connsiteY53" fmla="*/ 1129169 h 2323145"/>
              <a:gd name="connsiteX54" fmla="*/ 8038422 w 11269336"/>
              <a:gd name="connsiteY54" fmla="*/ 1119092 h 2323145"/>
              <a:gd name="connsiteX55" fmla="*/ 8029450 w 11269336"/>
              <a:gd name="connsiteY55" fmla="*/ 1125592 h 2323145"/>
              <a:gd name="connsiteX56" fmla="*/ 7959552 w 11269336"/>
              <a:gd name="connsiteY56" fmla="*/ 1140188 h 2323145"/>
              <a:gd name="connsiteX57" fmla="*/ 7914188 w 11269336"/>
              <a:gd name="connsiteY57" fmla="*/ 1150862 h 2323145"/>
              <a:gd name="connsiteX58" fmla="*/ 7914918 w 11269336"/>
              <a:gd name="connsiteY58" fmla="*/ 1168758 h 2323145"/>
              <a:gd name="connsiteX59" fmla="*/ 7875510 w 11269336"/>
              <a:gd name="connsiteY59" fmla="*/ 1183153 h 2323145"/>
              <a:gd name="connsiteX60" fmla="*/ 7829932 w 11269336"/>
              <a:gd name="connsiteY60" fmla="*/ 1180782 h 2323145"/>
              <a:gd name="connsiteX61" fmla="*/ 7779182 w 11269336"/>
              <a:gd name="connsiteY61" fmla="*/ 1192665 h 2323145"/>
              <a:gd name="connsiteX62" fmla="*/ 7748774 w 11269336"/>
              <a:gd name="connsiteY62" fmla="*/ 1199586 h 2323145"/>
              <a:gd name="connsiteX63" fmla="*/ 7671846 w 11269336"/>
              <a:gd name="connsiteY63" fmla="*/ 1231966 h 2323145"/>
              <a:gd name="connsiteX64" fmla="*/ 7554146 w 11269336"/>
              <a:gd name="connsiteY64" fmla="*/ 1319748 h 2323145"/>
              <a:gd name="connsiteX65" fmla="*/ 7515052 w 11269336"/>
              <a:gd name="connsiteY65" fmla="*/ 1336718 h 2323145"/>
              <a:gd name="connsiteX66" fmla="*/ 7507193 w 11269336"/>
              <a:gd name="connsiteY66" fmla="*/ 1334617 h 2323145"/>
              <a:gd name="connsiteX67" fmla="*/ 7461694 w 11269336"/>
              <a:gd name="connsiteY67" fmla="*/ 1375866 h 2323145"/>
              <a:gd name="connsiteX68" fmla="*/ 7377571 w 11269336"/>
              <a:gd name="connsiteY68" fmla="*/ 1400128 h 2323145"/>
              <a:gd name="connsiteX69" fmla="*/ 7311261 w 11269336"/>
              <a:gd name="connsiteY69" fmla="*/ 1412652 h 2323145"/>
              <a:gd name="connsiteX70" fmla="*/ 7275307 w 11269336"/>
              <a:gd name="connsiteY70" fmla="*/ 1422171 h 2323145"/>
              <a:gd name="connsiteX71" fmla="*/ 7247783 w 11269336"/>
              <a:gd name="connsiteY71" fmla="*/ 1426330 h 2323145"/>
              <a:gd name="connsiteX72" fmla="*/ 7185047 w 11269336"/>
              <a:gd name="connsiteY72" fmla="*/ 1451812 h 2323145"/>
              <a:gd name="connsiteX73" fmla="*/ 7084117 w 11269336"/>
              <a:gd name="connsiteY73" fmla="*/ 1500281 h 2323145"/>
              <a:gd name="connsiteX74" fmla="*/ 7062011 w 11269336"/>
              <a:gd name="connsiteY74" fmla="*/ 1509183 h 2323145"/>
              <a:gd name="connsiteX75" fmla="*/ 7040555 w 11269336"/>
              <a:gd name="connsiteY75" fmla="*/ 1511207 h 2323145"/>
              <a:gd name="connsiteX76" fmla="*/ 7033438 w 11269336"/>
              <a:gd name="connsiteY76" fmla="*/ 1506772 h 2323145"/>
              <a:gd name="connsiteX77" fmla="*/ 7020886 w 11269336"/>
              <a:gd name="connsiteY77" fmla="*/ 1510764 h 2323145"/>
              <a:gd name="connsiteX78" fmla="*/ 7017033 w 11269336"/>
              <a:gd name="connsiteY78" fmla="*/ 1510650 h 2323145"/>
              <a:gd name="connsiteX79" fmla="*/ 6995460 w 11269336"/>
              <a:gd name="connsiteY79" fmla="*/ 1511173 h 2323145"/>
              <a:gd name="connsiteX80" fmla="*/ 6962144 w 11269336"/>
              <a:gd name="connsiteY80" fmla="*/ 1541508 h 2323145"/>
              <a:gd name="connsiteX81" fmla="*/ 6910674 w 11269336"/>
              <a:gd name="connsiteY81" fmla="*/ 1554793 h 2323145"/>
              <a:gd name="connsiteX82" fmla="*/ 6732152 w 11269336"/>
              <a:gd name="connsiteY82" fmla="*/ 1642538 h 2323145"/>
              <a:gd name="connsiteX83" fmla="*/ 6694106 w 11269336"/>
              <a:gd name="connsiteY83" fmla="*/ 1632377 h 2323145"/>
              <a:gd name="connsiteX84" fmla="*/ 6617223 w 11269336"/>
              <a:gd name="connsiteY84" fmla="*/ 1659889 h 2323145"/>
              <a:gd name="connsiteX85" fmla="*/ 6521138 w 11269336"/>
              <a:gd name="connsiteY85" fmla="*/ 1744340 h 2323145"/>
              <a:gd name="connsiteX86" fmla="*/ 6380677 w 11269336"/>
              <a:gd name="connsiteY86" fmla="*/ 1796883 h 2323145"/>
              <a:gd name="connsiteX87" fmla="*/ 6374897 w 11269336"/>
              <a:gd name="connsiteY87" fmla="*/ 1809910 h 2323145"/>
              <a:gd name="connsiteX88" fmla="*/ 6364545 w 11269336"/>
              <a:gd name="connsiteY88" fmla="*/ 1820090 h 2323145"/>
              <a:gd name="connsiteX89" fmla="*/ 6362126 w 11269336"/>
              <a:gd name="connsiteY89" fmla="*/ 1819991 h 2323145"/>
              <a:gd name="connsiteX90" fmla="*/ 6346673 w 11269336"/>
              <a:gd name="connsiteY90" fmla="*/ 1827824 h 2323145"/>
              <a:gd name="connsiteX91" fmla="*/ 6345588 w 11269336"/>
              <a:gd name="connsiteY91" fmla="*/ 1832232 h 2323145"/>
              <a:gd name="connsiteX92" fmla="*/ 6335708 w 11269336"/>
              <a:gd name="connsiteY92" fmla="*/ 1838451 h 2323145"/>
              <a:gd name="connsiteX93" fmla="*/ 6318182 w 11269336"/>
              <a:gd name="connsiteY93" fmla="*/ 1852975 h 2323145"/>
              <a:gd name="connsiteX94" fmla="*/ 6313084 w 11269336"/>
              <a:gd name="connsiteY94" fmla="*/ 1853561 h 2323145"/>
              <a:gd name="connsiteX95" fmla="*/ 6283816 w 11269336"/>
              <a:gd name="connsiteY95" fmla="*/ 1872148 h 2323145"/>
              <a:gd name="connsiteX96" fmla="*/ 6282550 w 11269336"/>
              <a:gd name="connsiteY96" fmla="*/ 1871392 h 2323145"/>
              <a:gd name="connsiteX97" fmla="*/ 6270527 w 11269336"/>
              <a:gd name="connsiteY97" fmla="*/ 1872208 h 2323145"/>
              <a:gd name="connsiteX98" fmla="*/ 6249518 w 11269336"/>
              <a:gd name="connsiteY98" fmla="*/ 1876079 h 2323145"/>
              <a:gd name="connsiteX99" fmla="*/ 6190386 w 11269336"/>
              <a:gd name="connsiteY99" fmla="*/ 1872478 h 2323145"/>
              <a:gd name="connsiteX100" fmla="*/ 6159777 w 11269336"/>
              <a:gd name="connsiteY100" fmla="*/ 1891745 h 2323145"/>
              <a:gd name="connsiteX101" fmla="*/ 6153131 w 11269336"/>
              <a:gd name="connsiteY101" fmla="*/ 1895079 h 2323145"/>
              <a:gd name="connsiteX102" fmla="*/ 6152798 w 11269336"/>
              <a:gd name="connsiteY102" fmla="*/ 1894920 h 2323145"/>
              <a:gd name="connsiteX103" fmla="*/ 6145388 w 11269336"/>
              <a:gd name="connsiteY103" fmla="*/ 1897990 h 2323145"/>
              <a:gd name="connsiteX104" fmla="*/ 6141014 w 11269336"/>
              <a:gd name="connsiteY104" fmla="*/ 1901155 h 2323145"/>
              <a:gd name="connsiteX105" fmla="*/ 6128122 w 11269336"/>
              <a:gd name="connsiteY105" fmla="*/ 1907623 h 2323145"/>
              <a:gd name="connsiteX106" fmla="*/ 6122351 w 11269336"/>
              <a:gd name="connsiteY106" fmla="*/ 1908359 h 2323145"/>
              <a:gd name="connsiteX107" fmla="*/ 6064750 w 11269336"/>
              <a:gd name="connsiteY107" fmla="*/ 1896394 h 2323145"/>
              <a:gd name="connsiteX108" fmla="*/ 5964230 w 11269336"/>
              <a:gd name="connsiteY108" fmla="*/ 1910038 h 2323145"/>
              <a:gd name="connsiteX109" fmla="*/ 5865399 w 11269336"/>
              <a:gd name="connsiteY109" fmla="*/ 1926966 h 2323145"/>
              <a:gd name="connsiteX110" fmla="*/ 5829951 w 11269336"/>
              <a:gd name="connsiteY110" fmla="*/ 1934755 h 2323145"/>
              <a:gd name="connsiteX111" fmla="*/ 5765285 w 11269336"/>
              <a:gd name="connsiteY111" fmla="*/ 1941322 h 2323145"/>
              <a:gd name="connsiteX112" fmla="*/ 5734750 w 11269336"/>
              <a:gd name="connsiteY112" fmla="*/ 1939793 h 2323145"/>
              <a:gd name="connsiteX113" fmla="*/ 5733569 w 11269336"/>
              <a:gd name="connsiteY113" fmla="*/ 1940505 h 2323145"/>
              <a:gd name="connsiteX114" fmla="*/ 5730329 w 11269336"/>
              <a:gd name="connsiteY114" fmla="*/ 1937845 h 2323145"/>
              <a:gd name="connsiteX115" fmla="*/ 5724661 w 11269336"/>
              <a:gd name="connsiteY115" fmla="*/ 1937455 h 2323145"/>
              <a:gd name="connsiteX116" fmla="*/ 5710186 w 11269336"/>
              <a:gd name="connsiteY116" fmla="*/ 1941370 h 2323145"/>
              <a:gd name="connsiteX117" fmla="*/ 5704910 w 11269336"/>
              <a:gd name="connsiteY117" fmla="*/ 1943663 h 2323145"/>
              <a:gd name="connsiteX118" fmla="*/ 5696836 w 11269336"/>
              <a:gd name="connsiteY118" fmla="*/ 1945271 h 2323145"/>
              <a:gd name="connsiteX119" fmla="*/ 5696583 w 11269336"/>
              <a:gd name="connsiteY119" fmla="*/ 1945050 h 2323145"/>
              <a:gd name="connsiteX120" fmla="*/ 5689123 w 11269336"/>
              <a:gd name="connsiteY120" fmla="*/ 1947067 h 2323145"/>
              <a:gd name="connsiteX121" fmla="*/ 5653291 w 11269336"/>
              <a:gd name="connsiteY121" fmla="*/ 1960245 h 2323145"/>
              <a:gd name="connsiteX122" fmla="*/ 5599385 w 11269336"/>
              <a:gd name="connsiteY122" fmla="*/ 1945198 h 2323145"/>
              <a:gd name="connsiteX123" fmla="*/ 5578300 w 11269336"/>
              <a:gd name="connsiteY123" fmla="*/ 1944963 h 2323145"/>
              <a:gd name="connsiteX124" fmla="*/ 5566758 w 11269336"/>
              <a:gd name="connsiteY124" fmla="*/ 1943441 h 2323145"/>
              <a:gd name="connsiteX125" fmla="*/ 5565857 w 11269336"/>
              <a:gd name="connsiteY125" fmla="*/ 1942445 h 2323145"/>
              <a:gd name="connsiteX126" fmla="*/ 5531534 w 11269336"/>
              <a:gd name="connsiteY126" fmla="*/ 1955208 h 2323145"/>
              <a:gd name="connsiteX127" fmla="*/ 5526552 w 11269336"/>
              <a:gd name="connsiteY127" fmla="*/ 1954799 h 2323145"/>
              <a:gd name="connsiteX128" fmla="*/ 5504723 w 11269336"/>
              <a:gd name="connsiteY128" fmla="*/ 1965811 h 2323145"/>
              <a:gd name="connsiteX129" fmla="*/ 5493156 w 11269336"/>
              <a:gd name="connsiteY129" fmla="*/ 1970063 h 2323145"/>
              <a:gd name="connsiteX130" fmla="*/ 5490486 w 11269336"/>
              <a:gd name="connsiteY130" fmla="*/ 1974227 h 2323145"/>
              <a:gd name="connsiteX131" fmla="*/ 5473107 w 11269336"/>
              <a:gd name="connsiteY131" fmla="*/ 1979001 h 2323145"/>
              <a:gd name="connsiteX132" fmla="*/ 5470885 w 11269336"/>
              <a:gd name="connsiteY132" fmla="*/ 1978432 h 2323145"/>
              <a:gd name="connsiteX133" fmla="*/ 5457393 w 11269336"/>
              <a:gd name="connsiteY133" fmla="*/ 1986525 h 2323145"/>
              <a:gd name="connsiteX134" fmla="*/ 5447102 w 11269336"/>
              <a:gd name="connsiteY134" fmla="*/ 1998329 h 2323145"/>
              <a:gd name="connsiteX135" fmla="*/ 5159151 w 11269336"/>
              <a:gd name="connsiteY135" fmla="*/ 2029640 h 2323145"/>
              <a:gd name="connsiteX136" fmla="*/ 5041688 w 11269336"/>
              <a:gd name="connsiteY136" fmla="*/ 2022334 h 2323145"/>
              <a:gd name="connsiteX137" fmla="*/ 4860988 w 11269336"/>
              <a:gd name="connsiteY137" fmla="*/ 2135698 h 2323145"/>
              <a:gd name="connsiteX138" fmla="*/ 4807902 w 11269336"/>
              <a:gd name="connsiteY138" fmla="*/ 2138894 h 2323145"/>
              <a:gd name="connsiteX139" fmla="*/ 4765388 w 11269336"/>
              <a:gd name="connsiteY139" fmla="*/ 2162525 h 2323145"/>
              <a:gd name="connsiteX140" fmla="*/ 4745033 w 11269336"/>
              <a:gd name="connsiteY140" fmla="*/ 2158859 h 2323145"/>
              <a:gd name="connsiteX141" fmla="*/ 4741475 w 11269336"/>
              <a:gd name="connsiteY141" fmla="*/ 2157998 h 2323145"/>
              <a:gd name="connsiteX142" fmla="*/ 4728247 w 11269336"/>
              <a:gd name="connsiteY142" fmla="*/ 2159526 h 2323145"/>
              <a:gd name="connsiteX143" fmla="*/ 4723263 w 11269336"/>
              <a:gd name="connsiteY143" fmla="*/ 2153742 h 2323145"/>
              <a:gd name="connsiteX144" fmla="*/ 4702453 w 11269336"/>
              <a:gd name="connsiteY144" fmla="*/ 2151586 h 2323145"/>
              <a:gd name="connsiteX145" fmla="*/ 4678455 w 11269336"/>
              <a:gd name="connsiteY145" fmla="*/ 2156131 h 2323145"/>
              <a:gd name="connsiteX146" fmla="*/ 4593061 w 11269336"/>
              <a:gd name="connsiteY146" fmla="*/ 2171597 h 2323145"/>
              <a:gd name="connsiteX147" fmla="*/ 4579902 w 11269336"/>
              <a:gd name="connsiteY147" fmla="*/ 2177927 h 2323145"/>
              <a:gd name="connsiteX148" fmla="*/ 4533444 w 11269336"/>
              <a:gd name="connsiteY148" fmla="*/ 2181200 h 2323145"/>
              <a:gd name="connsiteX149" fmla="*/ 4492832 w 11269336"/>
              <a:gd name="connsiteY149" fmla="*/ 2188033 h 2323145"/>
              <a:gd name="connsiteX150" fmla="*/ 4467257 w 11269336"/>
              <a:gd name="connsiteY150" fmla="*/ 2196121 h 2323145"/>
              <a:gd name="connsiteX151" fmla="*/ 4459937 w 11269336"/>
              <a:gd name="connsiteY151" fmla="*/ 2195182 h 2323145"/>
              <a:gd name="connsiteX152" fmla="*/ 4433312 w 11269336"/>
              <a:gd name="connsiteY152" fmla="*/ 2199004 h 2323145"/>
              <a:gd name="connsiteX153" fmla="*/ 4420601 w 11269336"/>
              <a:gd name="connsiteY153" fmla="*/ 2205158 h 2323145"/>
              <a:gd name="connsiteX154" fmla="*/ 4405765 w 11269336"/>
              <a:gd name="connsiteY154" fmla="*/ 2199902 h 2323145"/>
              <a:gd name="connsiteX155" fmla="*/ 4401354 w 11269336"/>
              <a:gd name="connsiteY155" fmla="*/ 2194745 h 2323145"/>
              <a:gd name="connsiteX156" fmla="*/ 4383151 w 11269336"/>
              <a:gd name="connsiteY156" fmla="*/ 2201140 h 2323145"/>
              <a:gd name="connsiteX157" fmla="*/ 4366646 w 11269336"/>
              <a:gd name="connsiteY157" fmla="*/ 2198564 h 2323145"/>
              <a:gd name="connsiteX158" fmla="*/ 4354009 w 11269336"/>
              <a:gd name="connsiteY158" fmla="*/ 2204984 h 2323145"/>
              <a:gd name="connsiteX159" fmla="*/ 4348284 w 11269336"/>
              <a:gd name="connsiteY159" fmla="*/ 2205270 h 2323145"/>
              <a:gd name="connsiteX160" fmla="*/ 4333906 w 11269336"/>
              <a:gd name="connsiteY160" fmla="*/ 2205251 h 2323145"/>
              <a:gd name="connsiteX161" fmla="*/ 4308819 w 11269336"/>
              <a:gd name="connsiteY161" fmla="*/ 2203822 h 2323145"/>
              <a:gd name="connsiteX162" fmla="*/ 4301210 w 11269336"/>
              <a:gd name="connsiteY162" fmla="*/ 2204456 h 2323145"/>
              <a:gd name="connsiteX163" fmla="*/ 4283095 w 11269336"/>
              <a:gd name="connsiteY163" fmla="*/ 2198177 h 2323145"/>
              <a:gd name="connsiteX164" fmla="*/ 4250119 w 11269336"/>
              <a:gd name="connsiteY164" fmla="*/ 2196342 h 2323145"/>
              <a:gd name="connsiteX165" fmla="*/ 4189203 w 11269336"/>
              <a:gd name="connsiteY165" fmla="*/ 2178994 h 2323145"/>
              <a:gd name="connsiteX166" fmla="*/ 4154035 w 11269336"/>
              <a:gd name="connsiteY166" fmla="*/ 2171950 h 2323145"/>
              <a:gd name="connsiteX167" fmla="*/ 4129569 w 11269336"/>
              <a:gd name="connsiteY167" fmla="*/ 2163850 h 2323145"/>
              <a:gd name="connsiteX168" fmla="*/ 4061250 w 11269336"/>
              <a:gd name="connsiteY168" fmla="*/ 2159236 h 2323145"/>
              <a:gd name="connsiteX169" fmla="*/ 3945480 w 11269336"/>
              <a:gd name="connsiteY169" fmla="*/ 2158279 h 2323145"/>
              <a:gd name="connsiteX170" fmla="*/ 3921468 w 11269336"/>
              <a:gd name="connsiteY170" fmla="*/ 2156588 h 2323145"/>
              <a:gd name="connsiteX171" fmla="*/ 3903348 w 11269336"/>
              <a:gd name="connsiteY171" fmla="*/ 2149220 h 2323145"/>
              <a:gd name="connsiteX172" fmla="*/ 3901342 w 11269336"/>
              <a:gd name="connsiteY172" fmla="*/ 2142355 h 2323145"/>
              <a:gd name="connsiteX173" fmla="*/ 3888539 w 11269336"/>
              <a:gd name="connsiteY173" fmla="*/ 2140476 h 2323145"/>
              <a:gd name="connsiteX174" fmla="*/ 3885662 w 11269336"/>
              <a:gd name="connsiteY174" fmla="*/ 2138740 h 2323145"/>
              <a:gd name="connsiteX175" fmla="*/ 3868627 w 11269336"/>
              <a:gd name="connsiteY175" fmla="*/ 2130023 h 2323145"/>
              <a:gd name="connsiteX176" fmla="*/ 3819177 w 11269336"/>
              <a:gd name="connsiteY176" fmla="*/ 2142111 h 2323145"/>
              <a:gd name="connsiteX177" fmla="*/ 3769100 w 11269336"/>
              <a:gd name="connsiteY177" fmla="*/ 2131731 h 2323145"/>
              <a:gd name="connsiteX178" fmla="*/ 3562752 w 11269336"/>
              <a:gd name="connsiteY178" fmla="*/ 2131785 h 2323145"/>
              <a:gd name="connsiteX179" fmla="*/ 3541402 w 11269336"/>
              <a:gd name="connsiteY179" fmla="*/ 2106821 h 2323145"/>
              <a:gd name="connsiteX180" fmla="*/ 3365341 w 11269336"/>
              <a:gd name="connsiteY180" fmla="*/ 2077638 h 2323145"/>
              <a:gd name="connsiteX181" fmla="*/ 3170922 w 11269336"/>
              <a:gd name="connsiteY181" fmla="*/ 2115957 h 2323145"/>
              <a:gd name="connsiteX182" fmla="*/ 3156256 w 11269336"/>
              <a:gd name="connsiteY182" fmla="*/ 2124773 h 2323145"/>
              <a:gd name="connsiteX183" fmla="*/ 3140298 w 11269336"/>
              <a:gd name="connsiteY183" fmla="*/ 2129182 h 2323145"/>
              <a:gd name="connsiteX184" fmla="*/ 3138514 w 11269336"/>
              <a:gd name="connsiteY184" fmla="*/ 2128069 h 2323145"/>
              <a:gd name="connsiteX185" fmla="*/ 3120467 w 11269336"/>
              <a:gd name="connsiteY185" fmla="*/ 2128281 h 2323145"/>
              <a:gd name="connsiteX186" fmla="*/ 3116175 w 11269336"/>
              <a:gd name="connsiteY186" fmla="*/ 2131633 h 2323145"/>
              <a:gd name="connsiteX187" fmla="*/ 3103685 w 11269336"/>
              <a:gd name="connsiteY187" fmla="*/ 2132814 h 2323145"/>
              <a:gd name="connsiteX188" fmla="*/ 3078794 w 11269336"/>
              <a:gd name="connsiteY188" fmla="*/ 2137935 h 2323145"/>
              <a:gd name="connsiteX189" fmla="*/ 3074407 w 11269336"/>
              <a:gd name="connsiteY189" fmla="*/ 2136274 h 2323145"/>
              <a:gd name="connsiteX190" fmla="*/ 3037285 w 11269336"/>
              <a:gd name="connsiteY190" fmla="*/ 2139919 h 2323145"/>
              <a:gd name="connsiteX191" fmla="*/ 3036901 w 11269336"/>
              <a:gd name="connsiteY191" fmla="*/ 2138726 h 2323145"/>
              <a:gd name="connsiteX192" fmla="*/ 3026996 w 11269336"/>
              <a:gd name="connsiteY192" fmla="*/ 2134322 h 2323145"/>
              <a:gd name="connsiteX193" fmla="*/ 3007772 w 11269336"/>
              <a:gd name="connsiteY193" fmla="*/ 2128742 h 2323145"/>
              <a:gd name="connsiteX194" fmla="*/ 2965030 w 11269336"/>
              <a:gd name="connsiteY194" fmla="*/ 2100494 h 2323145"/>
              <a:gd name="connsiteX195" fmla="*/ 2926342 w 11269336"/>
              <a:gd name="connsiteY195" fmla="*/ 2104155 h 2323145"/>
              <a:gd name="connsiteX196" fmla="*/ 2918608 w 11269336"/>
              <a:gd name="connsiteY196" fmla="*/ 2104215 h 2323145"/>
              <a:gd name="connsiteX197" fmla="*/ 2918475 w 11269336"/>
              <a:gd name="connsiteY197" fmla="*/ 2103937 h 2323145"/>
              <a:gd name="connsiteX198" fmla="*/ 2910360 w 11269336"/>
              <a:gd name="connsiteY198" fmla="*/ 2103444 h 2323145"/>
              <a:gd name="connsiteX199" fmla="*/ 2904507 w 11269336"/>
              <a:gd name="connsiteY199" fmla="*/ 2104326 h 2323145"/>
              <a:gd name="connsiteX200" fmla="*/ 2889503 w 11269336"/>
              <a:gd name="connsiteY200" fmla="*/ 2104443 h 2323145"/>
              <a:gd name="connsiteX201" fmla="*/ 2884480 w 11269336"/>
              <a:gd name="connsiteY201" fmla="*/ 2102626 h 2323145"/>
              <a:gd name="connsiteX202" fmla="*/ 2882689 w 11269336"/>
              <a:gd name="connsiteY202" fmla="*/ 2099228 h 2323145"/>
              <a:gd name="connsiteX203" fmla="*/ 2881291 w 11269336"/>
              <a:gd name="connsiteY203" fmla="*/ 2099618 h 2323145"/>
              <a:gd name="connsiteX204" fmla="*/ 2853979 w 11269336"/>
              <a:gd name="connsiteY204" fmla="*/ 2090388 h 2323145"/>
              <a:gd name="connsiteX205" fmla="*/ 2791790 w 11269336"/>
              <a:gd name="connsiteY205" fmla="*/ 2080332 h 2323145"/>
              <a:gd name="connsiteX206" fmla="*/ 2755844 w 11269336"/>
              <a:gd name="connsiteY206" fmla="*/ 2078874 h 2323145"/>
              <a:gd name="connsiteX207" fmla="*/ 2657742 w 11269336"/>
              <a:gd name="connsiteY207" fmla="*/ 2070179 h 2323145"/>
              <a:gd name="connsiteX208" fmla="*/ 2559549 w 11269336"/>
              <a:gd name="connsiteY208" fmla="*/ 2057873 h 2323145"/>
              <a:gd name="connsiteX209" fmla="*/ 2512054 w 11269336"/>
              <a:gd name="connsiteY209" fmla="*/ 2031671 h 2323145"/>
              <a:gd name="connsiteX210" fmla="*/ 2506437 w 11269336"/>
              <a:gd name="connsiteY210" fmla="*/ 2030918 h 2323145"/>
              <a:gd name="connsiteX211" fmla="*/ 2491752 w 11269336"/>
              <a:gd name="connsiteY211" fmla="*/ 2033906 h 2323145"/>
              <a:gd name="connsiteX212" fmla="*/ 2486338 w 11269336"/>
              <a:gd name="connsiteY212" fmla="*/ 2035862 h 2323145"/>
              <a:gd name="connsiteX213" fmla="*/ 2478186 w 11269336"/>
              <a:gd name="connsiteY213" fmla="*/ 2036953 h 2323145"/>
              <a:gd name="connsiteX214" fmla="*/ 2477950 w 11269336"/>
              <a:gd name="connsiteY214" fmla="*/ 2036715 h 2323145"/>
              <a:gd name="connsiteX215" fmla="*/ 2470381 w 11269336"/>
              <a:gd name="connsiteY215" fmla="*/ 2038256 h 2323145"/>
              <a:gd name="connsiteX216" fmla="*/ 2433781 w 11269336"/>
              <a:gd name="connsiteY216" fmla="*/ 2049140 h 2323145"/>
              <a:gd name="connsiteX217" fmla="*/ 2381172 w 11269336"/>
              <a:gd name="connsiteY217" fmla="*/ 2030645 h 2323145"/>
              <a:gd name="connsiteX218" fmla="*/ 2360198 w 11269336"/>
              <a:gd name="connsiteY218" fmla="*/ 2029059 h 2323145"/>
              <a:gd name="connsiteX219" fmla="*/ 2348815 w 11269336"/>
              <a:gd name="connsiteY219" fmla="*/ 2026798 h 2323145"/>
              <a:gd name="connsiteX220" fmla="*/ 2347988 w 11269336"/>
              <a:gd name="connsiteY220" fmla="*/ 2025745 h 2323145"/>
              <a:gd name="connsiteX221" fmla="*/ 2312920 w 11269336"/>
              <a:gd name="connsiteY221" fmla="*/ 2036311 h 2323145"/>
              <a:gd name="connsiteX222" fmla="*/ 2307986 w 11269336"/>
              <a:gd name="connsiteY222" fmla="*/ 2035583 h 2323145"/>
              <a:gd name="connsiteX223" fmla="*/ 2285481 w 11269336"/>
              <a:gd name="connsiteY223" fmla="*/ 2045197 h 2323145"/>
              <a:gd name="connsiteX224" fmla="*/ 2273666 w 11269336"/>
              <a:gd name="connsiteY224" fmla="*/ 2048710 h 2323145"/>
              <a:gd name="connsiteX225" fmla="*/ 2270719 w 11269336"/>
              <a:gd name="connsiteY225" fmla="*/ 2052702 h 2323145"/>
              <a:gd name="connsiteX226" fmla="*/ 2253080 w 11269336"/>
              <a:gd name="connsiteY226" fmla="*/ 2056363 h 2323145"/>
              <a:gd name="connsiteX227" fmla="*/ 2250906 w 11269336"/>
              <a:gd name="connsiteY227" fmla="*/ 2055654 h 2323145"/>
              <a:gd name="connsiteX228" fmla="*/ 2236905 w 11269336"/>
              <a:gd name="connsiteY228" fmla="*/ 2062882 h 2323145"/>
              <a:gd name="connsiteX229" fmla="*/ 2225830 w 11269336"/>
              <a:gd name="connsiteY229" fmla="*/ 2074027 h 2323145"/>
              <a:gd name="connsiteX230" fmla="*/ 2073776 w 11269336"/>
              <a:gd name="connsiteY230" fmla="*/ 2089244 h 2323145"/>
              <a:gd name="connsiteX231" fmla="*/ 1948256 w 11269336"/>
              <a:gd name="connsiteY231" fmla="*/ 2146616 h 2323145"/>
              <a:gd name="connsiteX232" fmla="*/ 1865582 w 11269336"/>
              <a:gd name="connsiteY232" fmla="*/ 2153738 h 2323145"/>
              <a:gd name="connsiteX233" fmla="*/ 1835210 w 11269336"/>
              <a:gd name="connsiteY233" fmla="*/ 2134244 h 2323145"/>
              <a:gd name="connsiteX234" fmla="*/ 1632661 w 11269336"/>
              <a:gd name="connsiteY234" fmla="*/ 2173882 h 2323145"/>
              <a:gd name="connsiteX235" fmla="*/ 1579590 w 11269336"/>
              <a:gd name="connsiteY235" fmla="*/ 2173680 h 2323145"/>
              <a:gd name="connsiteX236" fmla="*/ 1535601 w 11269336"/>
              <a:gd name="connsiteY236" fmla="*/ 2194590 h 2323145"/>
              <a:gd name="connsiteX237" fmla="*/ 1515594 w 11269336"/>
              <a:gd name="connsiteY237" fmla="*/ 2189622 h 2323145"/>
              <a:gd name="connsiteX238" fmla="*/ 1512113 w 11269336"/>
              <a:gd name="connsiteY238" fmla="*/ 2188534 h 2323145"/>
              <a:gd name="connsiteX239" fmla="*/ 1498838 w 11269336"/>
              <a:gd name="connsiteY239" fmla="*/ 2189213 h 2323145"/>
              <a:gd name="connsiteX240" fmla="*/ 1494279 w 11269336"/>
              <a:gd name="connsiteY240" fmla="*/ 2183112 h 2323145"/>
              <a:gd name="connsiteX241" fmla="*/ 1473714 w 11269336"/>
              <a:gd name="connsiteY241" fmla="*/ 2179625 h 2323145"/>
              <a:gd name="connsiteX242" fmla="*/ 1449503 w 11269336"/>
              <a:gd name="connsiteY242" fmla="*/ 2182633 h 2323145"/>
              <a:gd name="connsiteX243" fmla="*/ 1266687 w 11269336"/>
              <a:gd name="connsiteY243" fmla="*/ 2212688 h 2323145"/>
              <a:gd name="connsiteX244" fmla="*/ 1239614 w 11269336"/>
              <a:gd name="connsiteY244" fmla="*/ 2209727 h 2323145"/>
              <a:gd name="connsiteX245" fmla="*/ 1202436 w 11269336"/>
              <a:gd name="connsiteY245" fmla="*/ 2209817 h 2323145"/>
              <a:gd name="connsiteX246" fmla="*/ 1136097 w 11269336"/>
              <a:gd name="connsiteY246" fmla="*/ 2205112 h 2323145"/>
              <a:gd name="connsiteX247" fmla="*/ 988232 w 11269336"/>
              <a:gd name="connsiteY247" fmla="*/ 2235635 h 2323145"/>
              <a:gd name="connsiteX248" fmla="*/ 981959 w 11269336"/>
              <a:gd name="connsiteY248" fmla="*/ 2231607 h 2323145"/>
              <a:gd name="connsiteX249" fmla="*/ 938600 w 11269336"/>
              <a:gd name="connsiteY249" fmla="*/ 2238113 h 2323145"/>
              <a:gd name="connsiteX250" fmla="*/ 791788 w 11269336"/>
              <a:gd name="connsiteY250" fmla="*/ 2293224 h 2323145"/>
              <a:gd name="connsiteX251" fmla="*/ 706914 w 11269336"/>
              <a:gd name="connsiteY251" fmla="*/ 2305046 h 2323145"/>
              <a:gd name="connsiteX252" fmla="*/ 675971 w 11269336"/>
              <a:gd name="connsiteY252" fmla="*/ 2304030 h 2323145"/>
              <a:gd name="connsiteX253" fmla="*/ 624180 w 11269336"/>
              <a:gd name="connsiteY253" fmla="*/ 2302650 h 2323145"/>
              <a:gd name="connsiteX254" fmla="*/ 583453 w 11269336"/>
              <a:gd name="connsiteY254" fmla="*/ 2288788 h 2323145"/>
              <a:gd name="connsiteX255" fmla="*/ 540946 w 11269336"/>
              <a:gd name="connsiteY255" fmla="*/ 2292721 h 2323145"/>
              <a:gd name="connsiteX256" fmla="*/ 533680 w 11269336"/>
              <a:gd name="connsiteY256" fmla="*/ 2310233 h 2323145"/>
              <a:gd name="connsiteX257" fmla="*/ 487366 w 11269336"/>
              <a:gd name="connsiteY257" fmla="*/ 2309053 h 2323145"/>
              <a:gd name="connsiteX258" fmla="*/ 416820 w 11269336"/>
              <a:gd name="connsiteY258" fmla="*/ 2305443 h 2323145"/>
              <a:gd name="connsiteX259" fmla="*/ 376805 w 11269336"/>
              <a:gd name="connsiteY259" fmla="*/ 2307647 h 2323145"/>
              <a:gd name="connsiteX260" fmla="*/ 266777 w 11269336"/>
              <a:gd name="connsiteY260" fmla="*/ 2309012 h 2323145"/>
              <a:gd name="connsiteX261" fmla="*/ 156013 w 11269336"/>
              <a:gd name="connsiteY261" fmla="*/ 2306832 h 2323145"/>
              <a:gd name="connsiteX262" fmla="*/ 87258 w 11269336"/>
              <a:gd name="connsiteY262" fmla="*/ 2285511 h 2323145"/>
              <a:gd name="connsiteX263" fmla="*/ 23798 w 11269336"/>
              <a:gd name="connsiteY263" fmla="*/ 2281822 h 2323145"/>
              <a:gd name="connsiteX264" fmla="*/ 0 w 11269336"/>
              <a:gd name="connsiteY264" fmla="*/ 2285369 h 2323145"/>
              <a:gd name="connsiteX265" fmla="*/ 0 w 11269336"/>
              <a:gd name="connsiteY265"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162278 w 11269336"/>
              <a:gd name="connsiteY21" fmla="*/ 704724 h 2323145"/>
              <a:gd name="connsiteX22" fmla="*/ 8977138 w 11269336"/>
              <a:gd name="connsiteY22" fmla="*/ 774970 h 2323145"/>
              <a:gd name="connsiteX23" fmla="*/ 9070855 w 11269336"/>
              <a:gd name="connsiteY23" fmla="*/ 794621 h 2323145"/>
              <a:gd name="connsiteX24" fmla="*/ 8914746 w 11269336"/>
              <a:gd name="connsiteY24" fmla="*/ 826428 h 2323145"/>
              <a:gd name="connsiteX25" fmla="*/ 8917778 w 11269336"/>
              <a:gd name="connsiteY25" fmla="*/ 835198 h 2323145"/>
              <a:gd name="connsiteX26" fmla="*/ 8905560 w 11269336"/>
              <a:gd name="connsiteY26" fmla="*/ 838358 h 2323145"/>
              <a:gd name="connsiteX27" fmla="*/ 8897564 w 11269336"/>
              <a:gd name="connsiteY27" fmla="*/ 834287 h 2323145"/>
              <a:gd name="connsiteX28" fmla="*/ 8878040 w 11269336"/>
              <a:gd name="connsiteY28" fmla="*/ 844150 h 2323145"/>
              <a:gd name="connsiteX29" fmla="*/ 8882654 w 11269336"/>
              <a:gd name="connsiteY29" fmla="*/ 892768 h 2323145"/>
              <a:gd name="connsiteX30" fmla="*/ 8795998 w 11269336"/>
              <a:gd name="connsiteY30" fmla="*/ 863337 h 2323145"/>
              <a:gd name="connsiteX31" fmla="*/ 8776970 w 11269336"/>
              <a:gd name="connsiteY31" fmla="*/ 885177 h 2323145"/>
              <a:gd name="connsiteX32" fmla="*/ 8755719 w 11269336"/>
              <a:gd name="connsiteY32" fmla="*/ 889754 h 2323145"/>
              <a:gd name="connsiteX33" fmla="*/ 8743257 w 11269336"/>
              <a:gd name="connsiteY33" fmla="*/ 904723 h 2323145"/>
              <a:gd name="connsiteX34" fmla="*/ 8721366 w 11269336"/>
              <a:gd name="connsiteY34" fmla="*/ 904711 h 2323145"/>
              <a:gd name="connsiteX35" fmla="*/ 8678353 w 11269336"/>
              <a:gd name="connsiteY35" fmla="*/ 926318 h 2323145"/>
              <a:gd name="connsiteX36" fmla="*/ 8636849 w 11269336"/>
              <a:gd name="connsiteY36" fmla="*/ 937900 h 2323145"/>
              <a:gd name="connsiteX37" fmla="*/ 8620213 w 11269336"/>
              <a:gd name="connsiteY37" fmla="*/ 943068 h 2323145"/>
              <a:gd name="connsiteX38" fmla="*/ 8612581 w 11269336"/>
              <a:gd name="connsiteY38" fmla="*/ 952695 h 2323145"/>
              <a:gd name="connsiteX39" fmla="*/ 8589038 w 11269336"/>
              <a:gd name="connsiteY39" fmla="*/ 963892 h 2323145"/>
              <a:gd name="connsiteX40" fmla="*/ 8579950 w 11269336"/>
              <a:gd name="connsiteY40" fmla="*/ 960899 h 2323145"/>
              <a:gd name="connsiteX41" fmla="*/ 8579319 w 11269336"/>
              <a:gd name="connsiteY41" fmla="*/ 965630 h 2323145"/>
              <a:gd name="connsiteX42" fmla="*/ 8547429 w 11269336"/>
              <a:gd name="connsiteY42" fmla="*/ 984506 h 2323145"/>
              <a:gd name="connsiteX43" fmla="*/ 8478704 w 11269336"/>
              <a:gd name="connsiteY43" fmla="*/ 1025490 h 2323145"/>
              <a:gd name="connsiteX44" fmla="*/ 8461421 w 11269336"/>
              <a:gd name="connsiteY44" fmla="*/ 1035512 h 2323145"/>
              <a:gd name="connsiteX45" fmla="*/ 8445003 w 11269336"/>
              <a:gd name="connsiteY45" fmla="*/ 1036851 h 2323145"/>
              <a:gd name="connsiteX46" fmla="*/ 8357350 w 11269336"/>
              <a:gd name="connsiteY46" fmla="*/ 1060213 h 2323145"/>
              <a:gd name="connsiteX47" fmla="*/ 8335565 w 11269336"/>
              <a:gd name="connsiteY47" fmla="*/ 1061151 h 2323145"/>
              <a:gd name="connsiteX48" fmla="*/ 8325267 w 11269336"/>
              <a:gd name="connsiteY48" fmla="*/ 1055919 h 2323145"/>
              <a:gd name="connsiteX49" fmla="*/ 8293586 w 11269336"/>
              <a:gd name="connsiteY49" fmla="*/ 1076144 h 2323145"/>
              <a:gd name="connsiteX50" fmla="*/ 8242405 w 11269336"/>
              <a:gd name="connsiteY50" fmla="*/ 1095960 h 2323145"/>
              <a:gd name="connsiteX51" fmla="*/ 8197391 w 11269336"/>
              <a:gd name="connsiteY51" fmla="*/ 1107746 h 2323145"/>
              <a:gd name="connsiteX52" fmla="*/ 8081474 w 11269336"/>
              <a:gd name="connsiteY52" fmla="*/ 1130125 h 2323145"/>
              <a:gd name="connsiteX53" fmla="*/ 8053585 w 11269336"/>
              <a:gd name="connsiteY53" fmla="*/ 1129169 h 2323145"/>
              <a:gd name="connsiteX54" fmla="*/ 8038422 w 11269336"/>
              <a:gd name="connsiteY54" fmla="*/ 1119092 h 2323145"/>
              <a:gd name="connsiteX55" fmla="*/ 8029450 w 11269336"/>
              <a:gd name="connsiteY55" fmla="*/ 1125592 h 2323145"/>
              <a:gd name="connsiteX56" fmla="*/ 7959552 w 11269336"/>
              <a:gd name="connsiteY56" fmla="*/ 1140188 h 2323145"/>
              <a:gd name="connsiteX57" fmla="*/ 7914188 w 11269336"/>
              <a:gd name="connsiteY57" fmla="*/ 1150862 h 2323145"/>
              <a:gd name="connsiteX58" fmla="*/ 7914918 w 11269336"/>
              <a:gd name="connsiteY58" fmla="*/ 1168758 h 2323145"/>
              <a:gd name="connsiteX59" fmla="*/ 7875510 w 11269336"/>
              <a:gd name="connsiteY59" fmla="*/ 1183153 h 2323145"/>
              <a:gd name="connsiteX60" fmla="*/ 7829932 w 11269336"/>
              <a:gd name="connsiteY60" fmla="*/ 1180782 h 2323145"/>
              <a:gd name="connsiteX61" fmla="*/ 7779182 w 11269336"/>
              <a:gd name="connsiteY61" fmla="*/ 1192665 h 2323145"/>
              <a:gd name="connsiteX62" fmla="*/ 7748774 w 11269336"/>
              <a:gd name="connsiteY62" fmla="*/ 1199586 h 2323145"/>
              <a:gd name="connsiteX63" fmla="*/ 7671846 w 11269336"/>
              <a:gd name="connsiteY63" fmla="*/ 1231966 h 2323145"/>
              <a:gd name="connsiteX64" fmla="*/ 7554146 w 11269336"/>
              <a:gd name="connsiteY64" fmla="*/ 1319748 h 2323145"/>
              <a:gd name="connsiteX65" fmla="*/ 7515052 w 11269336"/>
              <a:gd name="connsiteY65" fmla="*/ 1336718 h 2323145"/>
              <a:gd name="connsiteX66" fmla="*/ 7507193 w 11269336"/>
              <a:gd name="connsiteY66" fmla="*/ 1334617 h 2323145"/>
              <a:gd name="connsiteX67" fmla="*/ 7461694 w 11269336"/>
              <a:gd name="connsiteY67" fmla="*/ 1375866 h 2323145"/>
              <a:gd name="connsiteX68" fmla="*/ 7377571 w 11269336"/>
              <a:gd name="connsiteY68" fmla="*/ 1400128 h 2323145"/>
              <a:gd name="connsiteX69" fmla="*/ 7311261 w 11269336"/>
              <a:gd name="connsiteY69" fmla="*/ 1412652 h 2323145"/>
              <a:gd name="connsiteX70" fmla="*/ 7275307 w 11269336"/>
              <a:gd name="connsiteY70" fmla="*/ 1422171 h 2323145"/>
              <a:gd name="connsiteX71" fmla="*/ 7247783 w 11269336"/>
              <a:gd name="connsiteY71" fmla="*/ 1426330 h 2323145"/>
              <a:gd name="connsiteX72" fmla="*/ 7185047 w 11269336"/>
              <a:gd name="connsiteY72" fmla="*/ 1451812 h 2323145"/>
              <a:gd name="connsiteX73" fmla="*/ 7084117 w 11269336"/>
              <a:gd name="connsiteY73" fmla="*/ 1500281 h 2323145"/>
              <a:gd name="connsiteX74" fmla="*/ 7062011 w 11269336"/>
              <a:gd name="connsiteY74" fmla="*/ 1509183 h 2323145"/>
              <a:gd name="connsiteX75" fmla="*/ 7040555 w 11269336"/>
              <a:gd name="connsiteY75" fmla="*/ 1511207 h 2323145"/>
              <a:gd name="connsiteX76" fmla="*/ 7033438 w 11269336"/>
              <a:gd name="connsiteY76" fmla="*/ 1506772 h 2323145"/>
              <a:gd name="connsiteX77" fmla="*/ 7020886 w 11269336"/>
              <a:gd name="connsiteY77" fmla="*/ 1510764 h 2323145"/>
              <a:gd name="connsiteX78" fmla="*/ 7017033 w 11269336"/>
              <a:gd name="connsiteY78" fmla="*/ 1510650 h 2323145"/>
              <a:gd name="connsiteX79" fmla="*/ 6995460 w 11269336"/>
              <a:gd name="connsiteY79" fmla="*/ 1511173 h 2323145"/>
              <a:gd name="connsiteX80" fmla="*/ 6962144 w 11269336"/>
              <a:gd name="connsiteY80" fmla="*/ 1541508 h 2323145"/>
              <a:gd name="connsiteX81" fmla="*/ 6910674 w 11269336"/>
              <a:gd name="connsiteY81" fmla="*/ 1554793 h 2323145"/>
              <a:gd name="connsiteX82" fmla="*/ 6732152 w 11269336"/>
              <a:gd name="connsiteY82" fmla="*/ 1642538 h 2323145"/>
              <a:gd name="connsiteX83" fmla="*/ 6694106 w 11269336"/>
              <a:gd name="connsiteY83" fmla="*/ 1632377 h 2323145"/>
              <a:gd name="connsiteX84" fmla="*/ 6617223 w 11269336"/>
              <a:gd name="connsiteY84" fmla="*/ 1659889 h 2323145"/>
              <a:gd name="connsiteX85" fmla="*/ 6521138 w 11269336"/>
              <a:gd name="connsiteY85" fmla="*/ 1744340 h 2323145"/>
              <a:gd name="connsiteX86" fmla="*/ 6380677 w 11269336"/>
              <a:gd name="connsiteY86" fmla="*/ 1796883 h 2323145"/>
              <a:gd name="connsiteX87" fmla="*/ 6374897 w 11269336"/>
              <a:gd name="connsiteY87" fmla="*/ 1809910 h 2323145"/>
              <a:gd name="connsiteX88" fmla="*/ 6364545 w 11269336"/>
              <a:gd name="connsiteY88" fmla="*/ 1820090 h 2323145"/>
              <a:gd name="connsiteX89" fmla="*/ 6362126 w 11269336"/>
              <a:gd name="connsiteY89" fmla="*/ 1819991 h 2323145"/>
              <a:gd name="connsiteX90" fmla="*/ 6346673 w 11269336"/>
              <a:gd name="connsiteY90" fmla="*/ 1827824 h 2323145"/>
              <a:gd name="connsiteX91" fmla="*/ 6345588 w 11269336"/>
              <a:gd name="connsiteY91" fmla="*/ 1832232 h 2323145"/>
              <a:gd name="connsiteX92" fmla="*/ 6335708 w 11269336"/>
              <a:gd name="connsiteY92" fmla="*/ 1838451 h 2323145"/>
              <a:gd name="connsiteX93" fmla="*/ 6318182 w 11269336"/>
              <a:gd name="connsiteY93" fmla="*/ 1852975 h 2323145"/>
              <a:gd name="connsiteX94" fmla="*/ 6313084 w 11269336"/>
              <a:gd name="connsiteY94" fmla="*/ 1853561 h 2323145"/>
              <a:gd name="connsiteX95" fmla="*/ 6283816 w 11269336"/>
              <a:gd name="connsiteY95" fmla="*/ 1872148 h 2323145"/>
              <a:gd name="connsiteX96" fmla="*/ 6282550 w 11269336"/>
              <a:gd name="connsiteY96" fmla="*/ 1871392 h 2323145"/>
              <a:gd name="connsiteX97" fmla="*/ 6270527 w 11269336"/>
              <a:gd name="connsiteY97" fmla="*/ 1872208 h 2323145"/>
              <a:gd name="connsiteX98" fmla="*/ 6249518 w 11269336"/>
              <a:gd name="connsiteY98" fmla="*/ 1876079 h 2323145"/>
              <a:gd name="connsiteX99" fmla="*/ 6190386 w 11269336"/>
              <a:gd name="connsiteY99" fmla="*/ 1872478 h 2323145"/>
              <a:gd name="connsiteX100" fmla="*/ 6159777 w 11269336"/>
              <a:gd name="connsiteY100" fmla="*/ 1891745 h 2323145"/>
              <a:gd name="connsiteX101" fmla="*/ 6153131 w 11269336"/>
              <a:gd name="connsiteY101" fmla="*/ 1895079 h 2323145"/>
              <a:gd name="connsiteX102" fmla="*/ 6152798 w 11269336"/>
              <a:gd name="connsiteY102" fmla="*/ 1894920 h 2323145"/>
              <a:gd name="connsiteX103" fmla="*/ 6145388 w 11269336"/>
              <a:gd name="connsiteY103" fmla="*/ 1897990 h 2323145"/>
              <a:gd name="connsiteX104" fmla="*/ 6141014 w 11269336"/>
              <a:gd name="connsiteY104" fmla="*/ 1901155 h 2323145"/>
              <a:gd name="connsiteX105" fmla="*/ 6128122 w 11269336"/>
              <a:gd name="connsiteY105" fmla="*/ 1907623 h 2323145"/>
              <a:gd name="connsiteX106" fmla="*/ 6122351 w 11269336"/>
              <a:gd name="connsiteY106" fmla="*/ 1908359 h 2323145"/>
              <a:gd name="connsiteX107" fmla="*/ 6064750 w 11269336"/>
              <a:gd name="connsiteY107" fmla="*/ 1896394 h 2323145"/>
              <a:gd name="connsiteX108" fmla="*/ 5964230 w 11269336"/>
              <a:gd name="connsiteY108" fmla="*/ 1910038 h 2323145"/>
              <a:gd name="connsiteX109" fmla="*/ 5865399 w 11269336"/>
              <a:gd name="connsiteY109" fmla="*/ 1926966 h 2323145"/>
              <a:gd name="connsiteX110" fmla="*/ 5829951 w 11269336"/>
              <a:gd name="connsiteY110" fmla="*/ 1934755 h 2323145"/>
              <a:gd name="connsiteX111" fmla="*/ 5765285 w 11269336"/>
              <a:gd name="connsiteY111" fmla="*/ 1941322 h 2323145"/>
              <a:gd name="connsiteX112" fmla="*/ 5734750 w 11269336"/>
              <a:gd name="connsiteY112" fmla="*/ 1939793 h 2323145"/>
              <a:gd name="connsiteX113" fmla="*/ 5733569 w 11269336"/>
              <a:gd name="connsiteY113" fmla="*/ 1940505 h 2323145"/>
              <a:gd name="connsiteX114" fmla="*/ 5730329 w 11269336"/>
              <a:gd name="connsiteY114" fmla="*/ 1937845 h 2323145"/>
              <a:gd name="connsiteX115" fmla="*/ 5724661 w 11269336"/>
              <a:gd name="connsiteY115" fmla="*/ 1937455 h 2323145"/>
              <a:gd name="connsiteX116" fmla="*/ 5710186 w 11269336"/>
              <a:gd name="connsiteY116" fmla="*/ 1941370 h 2323145"/>
              <a:gd name="connsiteX117" fmla="*/ 5704910 w 11269336"/>
              <a:gd name="connsiteY117" fmla="*/ 1943663 h 2323145"/>
              <a:gd name="connsiteX118" fmla="*/ 5696836 w 11269336"/>
              <a:gd name="connsiteY118" fmla="*/ 1945271 h 2323145"/>
              <a:gd name="connsiteX119" fmla="*/ 5696583 w 11269336"/>
              <a:gd name="connsiteY119" fmla="*/ 1945050 h 2323145"/>
              <a:gd name="connsiteX120" fmla="*/ 5689123 w 11269336"/>
              <a:gd name="connsiteY120" fmla="*/ 1947067 h 2323145"/>
              <a:gd name="connsiteX121" fmla="*/ 5653291 w 11269336"/>
              <a:gd name="connsiteY121" fmla="*/ 1960245 h 2323145"/>
              <a:gd name="connsiteX122" fmla="*/ 5599385 w 11269336"/>
              <a:gd name="connsiteY122" fmla="*/ 1945198 h 2323145"/>
              <a:gd name="connsiteX123" fmla="*/ 5578300 w 11269336"/>
              <a:gd name="connsiteY123" fmla="*/ 1944963 h 2323145"/>
              <a:gd name="connsiteX124" fmla="*/ 5566758 w 11269336"/>
              <a:gd name="connsiteY124" fmla="*/ 1943441 h 2323145"/>
              <a:gd name="connsiteX125" fmla="*/ 5565857 w 11269336"/>
              <a:gd name="connsiteY125" fmla="*/ 1942445 h 2323145"/>
              <a:gd name="connsiteX126" fmla="*/ 5531534 w 11269336"/>
              <a:gd name="connsiteY126" fmla="*/ 1955208 h 2323145"/>
              <a:gd name="connsiteX127" fmla="*/ 5526552 w 11269336"/>
              <a:gd name="connsiteY127" fmla="*/ 1954799 h 2323145"/>
              <a:gd name="connsiteX128" fmla="*/ 5504723 w 11269336"/>
              <a:gd name="connsiteY128" fmla="*/ 1965811 h 2323145"/>
              <a:gd name="connsiteX129" fmla="*/ 5493156 w 11269336"/>
              <a:gd name="connsiteY129" fmla="*/ 1970063 h 2323145"/>
              <a:gd name="connsiteX130" fmla="*/ 5490486 w 11269336"/>
              <a:gd name="connsiteY130" fmla="*/ 1974227 h 2323145"/>
              <a:gd name="connsiteX131" fmla="*/ 5473107 w 11269336"/>
              <a:gd name="connsiteY131" fmla="*/ 1979001 h 2323145"/>
              <a:gd name="connsiteX132" fmla="*/ 5470885 w 11269336"/>
              <a:gd name="connsiteY132" fmla="*/ 1978432 h 2323145"/>
              <a:gd name="connsiteX133" fmla="*/ 5457393 w 11269336"/>
              <a:gd name="connsiteY133" fmla="*/ 1986525 h 2323145"/>
              <a:gd name="connsiteX134" fmla="*/ 5447102 w 11269336"/>
              <a:gd name="connsiteY134" fmla="*/ 1998329 h 2323145"/>
              <a:gd name="connsiteX135" fmla="*/ 5159151 w 11269336"/>
              <a:gd name="connsiteY135" fmla="*/ 2029640 h 2323145"/>
              <a:gd name="connsiteX136" fmla="*/ 5041688 w 11269336"/>
              <a:gd name="connsiteY136" fmla="*/ 2022334 h 2323145"/>
              <a:gd name="connsiteX137" fmla="*/ 4860988 w 11269336"/>
              <a:gd name="connsiteY137" fmla="*/ 2135698 h 2323145"/>
              <a:gd name="connsiteX138" fmla="*/ 4807902 w 11269336"/>
              <a:gd name="connsiteY138" fmla="*/ 2138894 h 2323145"/>
              <a:gd name="connsiteX139" fmla="*/ 4765388 w 11269336"/>
              <a:gd name="connsiteY139" fmla="*/ 2162525 h 2323145"/>
              <a:gd name="connsiteX140" fmla="*/ 4745033 w 11269336"/>
              <a:gd name="connsiteY140" fmla="*/ 2158859 h 2323145"/>
              <a:gd name="connsiteX141" fmla="*/ 4741475 w 11269336"/>
              <a:gd name="connsiteY141" fmla="*/ 2157998 h 2323145"/>
              <a:gd name="connsiteX142" fmla="*/ 4728247 w 11269336"/>
              <a:gd name="connsiteY142" fmla="*/ 2159526 h 2323145"/>
              <a:gd name="connsiteX143" fmla="*/ 4723263 w 11269336"/>
              <a:gd name="connsiteY143" fmla="*/ 2153742 h 2323145"/>
              <a:gd name="connsiteX144" fmla="*/ 4702453 w 11269336"/>
              <a:gd name="connsiteY144" fmla="*/ 2151586 h 2323145"/>
              <a:gd name="connsiteX145" fmla="*/ 4678455 w 11269336"/>
              <a:gd name="connsiteY145" fmla="*/ 2156131 h 2323145"/>
              <a:gd name="connsiteX146" fmla="*/ 4593061 w 11269336"/>
              <a:gd name="connsiteY146" fmla="*/ 2171597 h 2323145"/>
              <a:gd name="connsiteX147" fmla="*/ 4579902 w 11269336"/>
              <a:gd name="connsiteY147" fmla="*/ 2177927 h 2323145"/>
              <a:gd name="connsiteX148" fmla="*/ 4533444 w 11269336"/>
              <a:gd name="connsiteY148" fmla="*/ 2181200 h 2323145"/>
              <a:gd name="connsiteX149" fmla="*/ 4492832 w 11269336"/>
              <a:gd name="connsiteY149" fmla="*/ 2188033 h 2323145"/>
              <a:gd name="connsiteX150" fmla="*/ 4467257 w 11269336"/>
              <a:gd name="connsiteY150" fmla="*/ 2196121 h 2323145"/>
              <a:gd name="connsiteX151" fmla="*/ 4459937 w 11269336"/>
              <a:gd name="connsiteY151" fmla="*/ 2195182 h 2323145"/>
              <a:gd name="connsiteX152" fmla="*/ 4433312 w 11269336"/>
              <a:gd name="connsiteY152" fmla="*/ 2199004 h 2323145"/>
              <a:gd name="connsiteX153" fmla="*/ 4420601 w 11269336"/>
              <a:gd name="connsiteY153" fmla="*/ 2205158 h 2323145"/>
              <a:gd name="connsiteX154" fmla="*/ 4405765 w 11269336"/>
              <a:gd name="connsiteY154" fmla="*/ 2199902 h 2323145"/>
              <a:gd name="connsiteX155" fmla="*/ 4401354 w 11269336"/>
              <a:gd name="connsiteY155" fmla="*/ 2194745 h 2323145"/>
              <a:gd name="connsiteX156" fmla="*/ 4383151 w 11269336"/>
              <a:gd name="connsiteY156" fmla="*/ 2201140 h 2323145"/>
              <a:gd name="connsiteX157" fmla="*/ 4366646 w 11269336"/>
              <a:gd name="connsiteY157" fmla="*/ 2198564 h 2323145"/>
              <a:gd name="connsiteX158" fmla="*/ 4354009 w 11269336"/>
              <a:gd name="connsiteY158" fmla="*/ 2204984 h 2323145"/>
              <a:gd name="connsiteX159" fmla="*/ 4348284 w 11269336"/>
              <a:gd name="connsiteY159" fmla="*/ 2205270 h 2323145"/>
              <a:gd name="connsiteX160" fmla="*/ 4333906 w 11269336"/>
              <a:gd name="connsiteY160" fmla="*/ 2205251 h 2323145"/>
              <a:gd name="connsiteX161" fmla="*/ 4308819 w 11269336"/>
              <a:gd name="connsiteY161" fmla="*/ 2203822 h 2323145"/>
              <a:gd name="connsiteX162" fmla="*/ 4301210 w 11269336"/>
              <a:gd name="connsiteY162" fmla="*/ 2204456 h 2323145"/>
              <a:gd name="connsiteX163" fmla="*/ 4283095 w 11269336"/>
              <a:gd name="connsiteY163" fmla="*/ 2198177 h 2323145"/>
              <a:gd name="connsiteX164" fmla="*/ 4250119 w 11269336"/>
              <a:gd name="connsiteY164" fmla="*/ 2196342 h 2323145"/>
              <a:gd name="connsiteX165" fmla="*/ 4189203 w 11269336"/>
              <a:gd name="connsiteY165" fmla="*/ 2178994 h 2323145"/>
              <a:gd name="connsiteX166" fmla="*/ 4154035 w 11269336"/>
              <a:gd name="connsiteY166" fmla="*/ 2171950 h 2323145"/>
              <a:gd name="connsiteX167" fmla="*/ 4129569 w 11269336"/>
              <a:gd name="connsiteY167" fmla="*/ 2163850 h 2323145"/>
              <a:gd name="connsiteX168" fmla="*/ 4061250 w 11269336"/>
              <a:gd name="connsiteY168" fmla="*/ 2159236 h 2323145"/>
              <a:gd name="connsiteX169" fmla="*/ 3945480 w 11269336"/>
              <a:gd name="connsiteY169" fmla="*/ 2158279 h 2323145"/>
              <a:gd name="connsiteX170" fmla="*/ 3921468 w 11269336"/>
              <a:gd name="connsiteY170" fmla="*/ 2156588 h 2323145"/>
              <a:gd name="connsiteX171" fmla="*/ 3903348 w 11269336"/>
              <a:gd name="connsiteY171" fmla="*/ 2149220 h 2323145"/>
              <a:gd name="connsiteX172" fmla="*/ 3901342 w 11269336"/>
              <a:gd name="connsiteY172" fmla="*/ 2142355 h 2323145"/>
              <a:gd name="connsiteX173" fmla="*/ 3888539 w 11269336"/>
              <a:gd name="connsiteY173" fmla="*/ 2140476 h 2323145"/>
              <a:gd name="connsiteX174" fmla="*/ 3885662 w 11269336"/>
              <a:gd name="connsiteY174" fmla="*/ 2138740 h 2323145"/>
              <a:gd name="connsiteX175" fmla="*/ 3868627 w 11269336"/>
              <a:gd name="connsiteY175" fmla="*/ 2130023 h 2323145"/>
              <a:gd name="connsiteX176" fmla="*/ 3819177 w 11269336"/>
              <a:gd name="connsiteY176" fmla="*/ 2142111 h 2323145"/>
              <a:gd name="connsiteX177" fmla="*/ 3769100 w 11269336"/>
              <a:gd name="connsiteY177" fmla="*/ 2131731 h 2323145"/>
              <a:gd name="connsiteX178" fmla="*/ 3562752 w 11269336"/>
              <a:gd name="connsiteY178" fmla="*/ 2131785 h 2323145"/>
              <a:gd name="connsiteX179" fmla="*/ 3541402 w 11269336"/>
              <a:gd name="connsiteY179" fmla="*/ 2106821 h 2323145"/>
              <a:gd name="connsiteX180" fmla="*/ 3365341 w 11269336"/>
              <a:gd name="connsiteY180" fmla="*/ 2077638 h 2323145"/>
              <a:gd name="connsiteX181" fmla="*/ 3170922 w 11269336"/>
              <a:gd name="connsiteY181" fmla="*/ 2115957 h 2323145"/>
              <a:gd name="connsiteX182" fmla="*/ 3156256 w 11269336"/>
              <a:gd name="connsiteY182" fmla="*/ 2124773 h 2323145"/>
              <a:gd name="connsiteX183" fmla="*/ 3140298 w 11269336"/>
              <a:gd name="connsiteY183" fmla="*/ 2129182 h 2323145"/>
              <a:gd name="connsiteX184" fmla="*/ 3138514 w 11269336"/>
              <a:gd name="connsiteY184" fmla="*/ 2128069 h 2323145"/>
              <a:gd name="connsiteX185" fmla="*/ 3120467 w 11269336"/>
              <a:gd name="connsiteY185" fmla="*/ 2128281 h 2323145"/>
              <a:gd name="connsiteX186" fmla="*/ 3116175 w 11269336"/>
              <a:gd name="connsiteY186" fmla="*/ 2131633 h 2323145"/>
              <a:gd name="connsiteX187" fmla="*/ 3103685 w 11269336"/>
              <a:gd name="connsiteY187" fmla="*/ 2132814 h 2323145"/>
              <a:gd name="connsiteX188" fmla="*/ 3078794 w 11269336"/>
              <a:gd name="connsiteY188" fmla="*/ 2137935 h 2323145"/>
              <a:gd name="connsiteX189" fmla="*/ 3074407 w 11269336"/>
              <a:gd name="connsiteY189" fmla="*/ 2136274 h 2323145"/>
              <a:gd name="connsiteX190" fmla="*/ 3037285 w 11269336"/>
              <a:gd name="connsiteY190" fmla="*/ 2139919 h 2323145"/>
              <a:gd name="connsiteX191" fmla="*/ 3036901 w 11269336"/>
              <a:gd name="connsiteY191" fmla="*/ 2138726 h 2323145"/>
              <a:gd name="connsiteX192" fmla="*/ 3026996 w 11269336"/>
              <a:gd name="connsiteY192" fmla="*/ 2134322 h 2323145"/>
              <a:gd name="connsiteX193" fmla="*/ 3007772 w 11269336"/>
              <a:gd name="connsiteY193" fmla="*/ 2128742 h 2323145"/>
              <a:gd name="connsiteX194" fmla="*/ 2965030 w 11269336"/>
              <a:gd name="connsiteY194" fmla="*/ 2100494 h 2323145"/>
              <a:gd name="connsiteX195" fmla="*/ 2926342 w 11269336"/>
              <a:gd name="connsiteY195" fmla="*/ 2104155 h 2323145"/>
              <a:gd name="connsiteX196" fmla="*/ 2918608 w 11269336"/>
              <a:gd name="connsiteY196" fmla="*/ 2104215 h 2323145"/>
              <a:gd name="connsiteX197" fmla="*/ 2918475 w 11269336"/>
              <a:gd name="connsiteY197" fmla="*/ 2103937 h 2323145"/>
              <a:gd name="connsiteX198" fmla="*/ 2910360 w 11269336"/>
              <a:gd name="connsiteY198" fmla="*/ 2103444 h 2323145"/>
              <a:gd name="connsiteX199" fmla="*/ 2904507 w 11269336"/>
              <a:gd name="connsiteY199" fmla="*/ 2104326 h 2323145"/>
              <a:gd name="connsiteX200" fmla="*/ 2889503 w 11269336"/>
              <a:gd name="connsiteY200" fmla="*/ 2104443 h 2323145"/>
              <a:gd name="connsiteX201" fmla="*/ 2884480 w 11269336"/>
              <a:gd name="connsiteY201" fmla="*/ 2102626 h 2323145"/>
              <a:gd name="connsiteX202" fmla="*/ 2882689 w 11269336"/>
              <a:gd name="connsiteY202" fmla="*/ 2099228 h 2323145"/>
              <a:gd name="connsiteX203" fmla="*/ 2881291 w 11269336"/>
              <a:gd name="connsiteY203" fmla="*/ 2099618 h 2323145"/>
              <a:gd name="connsiteX204" fmla="*/ 2853979 w 11269336"/>
              <a:gd name="connsiteY204" fmla="*/ 2090388 h 2323145"/>
              <a:gd name="connsiteX205" fmla="*/ 2791790 w 11269336"/>
              <a:gd name="connsiteY205" fmla="*/ 2080332 h 2323145"/>
              <a:gd name="connsiteX206" fmla="*/ 2755844 w 11269336"/>
              <a:gd name="connsiteY206" fmla="*/ 2078874 h 2323145"/>
              <a:gd name="connsiteX207" fmla="*/ 2657742 w 11269336"/>
              <a:gd name="connsiteY207" fmla="*/ 2070179 h 2323145"/>
              <a:gd name="connsiteX208" fmla="*/ 2559549 w 11269336"/>
              <a:gd name="connsiteY208" fmla="*/ 2057873 h 2323145"/>
              <a:gd name="connsiteX209" fmla="*/ 2512054 w 11269336"/>
              <a:gd name="connsiteY209" fmla="*/ 2031671 h 2323145"/>
              <a:gd name="connsiteX210" fmla="*/ 2506437 w 11269336"/>
              <a:gd name="connsiteY210" fmla="*/ 2030918 h 2323145"/>
              <a:gd name="connsiteX211" fmla="*/ 2491752 w 11269336"/>
              <a:gd name="connsiteY211" fmla="*/ 2033906 h 2323145"/>
              <a:gd name="connsiteX212" fmla="*/ 2486338 w 11269336"/>
              <a:gd name="connsiteY212" fmla="*/ 2035862 h 2323145"/>
              <a:gd name="connsiteX213" fmla="*/ 2478186 w 11269336"/>
              <a:gd name="connsiteY213" fmla="*/ 2036953 h 2323145"/>
              <a:gd name="connsiteX214" fmla="*/ 2477950 w 11269336"/>
              <a:gd name="connsiteY214" fmla="*/ 2036715 h 2323145"/>
              <a:gd name="connsiteX215" fmla="*/ 2470381 w 11269336"/>
              <a:gd name="connsiteY215" fmla="*/ 2038256 h 2323145"/>
              <a:gd name="connsiteX216" fmla="*/ 2433781 w 11269336"/>
              <a:gd name="connsiteY216" fmla="*/ 2049140 h 2323145"/>
              <a:gd name="connsiteX217" fmla="*/ 2381172 w 11269336"/>
              <a:gd name="connsiteY217" fmla="*/ 2030645 h 2323145"/>
              <a:gd name="connsiteX218" fmla="*/ 2360198 w 11269336"/>
              <a:gd name="connsiteY218" fmla="*/ 2029059 h 2323145"/>
              <a:gd name="connsiteX219" fmla="*/ 2348815 w 11269336"/>
              <a:gd name="connsiteY219" fmla="*/ 2026798 h 2323145"/>
              <a:gd name="connsiteX220" fmla="*/ 2347988 w 11269336"/>
              <a:gd name="connsiteY220" fmla="*/ 2025745 h 2323145"/>
              <a:gd name="connsiteX221" fmla="*/ 2312920 w 11269336"/>
              <a:gd name="connsiteY221" fmla="*/ 2036311 h 2323145"/>
              <a:gd name="connsiteX222" fmla="*/ 2307986 w 11269336"/>
              <a:gd name="connsiteY222" fmla="*/ 2035583 h 2323145"/>
              <a:gd name="connsiteX223" fmla="*/ 2285481 w 11269336"/>
              <a:gd name="connsiteY223" fmla="*/ 2045197 h 2323145"/>
              <a:gd name="connsiteX224" fmla="*/ 2273666 w 11269336"/>
              <a:gd name="connsiteY224" fmla="*/ 2048710 h 2323145"/>
              <a:gd name="connsiteX225" fmla="*/ 2270719 w 11269336"/>
              <a:gd name="connsiteY225" fmla="*/ 2052702 h 2323145"/>
              <a:gd name="connsiteX226" fmla="*/ 2253080 w 11269336"/>
              <a:gd name="connsiteY226" fmla="*/ 2056363 h 2323145"/>
              <a:gd name="connsiteX227" fmla="*/ 2250906 w 11269336"/>
              <a:gd name="connsiteY227" fmla="*/ 2055654 h 2323145"/>
              <a:gd name="connsiteX228" fmla="*/ 2236905 w 11269336"/>
              <a:gd name="connsiteY228" fmla="*/ 2062882 h 2323145"/>
              <a:gd name="connsiteX229" fmla="*/ 2225830 w 11269336"/>
              <a:gd name="connsiteY229" fmla="*/ 2074027 h 2323145"/>
              <a:gd name="connsiteX230" fmla="*/ 2073776 w 11269336"/>
              <a:gd name="connsiteY230" fmla="*/ 2089244 h 2323145"/>
              <a:gd name="connsiteX231" fmla="*/ 1948256 w 11269336"/>
              <a:gd name="connsiteY231" fmla="*/ 2146616 h 2323145"/>
              <a:gd name="connsiteX232" fmla="*/ 1865582 w 11269336"/>
              <a:gd name="connsiteY232" fmla="*/ 2153738 h 2323145"/>
              <a:gd name="connsiteX233" fmla="*/ 1835210 w 11269336"/>
              <a:gd name="connsiteY233" fmla="*/ 2134244 h 2323145"/>
              <a:gd name="connsiteX234" fmla="*/ 1632661 w 11269336"/>
              <a:gd name="connsiteY234" fmla="*/ 2173882 h 2323145"/>
              <a:gd name="connsiteX235" fmla="*/ 1579590 w 11269336"/>
              <a:gd name="connsiteY235" fmla="*/ 2173680 h 2323145"/>
              <a:gd name="connsiteX236" fmla="*/ 1535601 w 11269336"/>
              <a:gd name="connsiteY236" fmla="*/ 2194590 h 2323145"/>
              <a:gd name="connsiteX237" fmla="*/ 1515594 w 11269336"/>
              <a:gd name="connsiteY237" fmla="*/ 2189622 h 2323145"/>
              <a:gd name="connsiteX238" fmla="*/ 1512113 w 11269336"/>
              <a:gd name="connsiteY238" fmla="*/ 2188534 h 2323145"/>
              <a:gd name="connsiteX239" fmla="*/ 1498838 w 11269336"/>
              <a:gd name="connsiteY239" fmla="*/ 2189213 h 2323145"/>
              <a:gd name="connsiteX240" fmla="*/ 1494279 w 11269336"/>
              <a:gd name="connsiteY240" fmla="*/ 2183112 h 2323145"/>
              <a:gd name="connsiteX241" fmla="*/ 1473714 w 11269336"/>
              <a:gd name="connsiteY241" fmla="*/ 2179625 h 2323145"/>
              <a:gd name="connsiteX242" fmla="*/ 1449503 w 11269336"/>
              <a:gd name="connsiteY242" fmla="*/ 2182633 h 2323145"/>
              <a:gd name="connsiteX243" fmla="*/ 1266687 w 11269336"/>
              <a:gd name="connsiteY243" fmla="*/ 2212688 h 2323145"/>
              <a:gd name="connsiteX244" fmla="*/ 1239614 w 11269336"/>
              <a:gd name="connsiteY244" fmla="*/ 2209727 h 2323145"/>
              <a:gd name="connsiteX245" fmla="*/ 1202436 w 11269336"/>
              <a:gd name="connsiteY245" fmla="*/ 2209817 h 2323145"/>
              <a:gd name="connsiteX246" fmla="*/ 1136097 w 11269336"/>
              <a:gd name="connsiteY246" fmla="*/ 2205112 h 2323145"/>
              <a:gd name="connsiteX247" fmla="*/ 988232 w 11269336"/>
              <a:gd name="connsiteY247" fmla="*/ 2235635 h 2323145"/>
              <a:gd name="connsiteX248" fmla="*/ 981959 w 11269336"/>
              <a:gd name="connsiteY248" fmla="*/ 2231607 h 2323145"/>
              <a:gd name="connsiteX249" fmla="*/ 938600 w 11269336"/>
              <a:gd name="connsiteY249" fmla="*/ 2238113 h 2323145"/>
              <a:gd name="connsiteX250" fmla="*/ 791788 w 11269336"/>
              <a:gd name="connsiteY250" fmla="*/ 2293224 h 2323145"/>
              <a:gd name="connsiteX251" fmla="*/ 706914 w 11269336"/>
              <a:gd name="connsiteY251" fmla="*/ 2305046 h 2323145"/>
              <a:gd name="connsiteX252" fmla="*/ 675971 w 11269336"/>
              <a:gd name="connsiteY252" fmla="*/ 2304030 h 2323145"/>
              <a:gd name="connsiteX253" fmla="*/ 624180 w 11269336"/>
              <a:gd name="connsiteY253" fmla="*/ 2302650 h 2323145"/>
              <a:gd name="connsiteX254" fmla="*/ 583453 w 11269336"/>
              <a:gd name="connsiteY254" fmla="*/ 2288788 h 2323145"/>
              <a:gd name="connsiteX255" fmla="*/ 540946 w 11269336"/>
              <a:gd name="connsiteY255" fmla="*/ 2292721 h 2323145"/>
              <a:gd name="connsiteX256" fmla="*/ 533680 w 11269336"/>
              <a:gd name="connsiteY256" fmla="*/ 2310233 h 2323145"/>
              <a:gd name="connsiteX257" fmla="*/ 487366 w 11269336"/>
              <a:gd name="connsiteY257" fmla="*/ 2309053 h 2323145"/>
              <a:gd name="connsiteX258" fmla="*/ 416820 w 11269336"/>
              <a:gd name="connsiteY258" fmla="*/ 2305443 h 2323145"/>
              <a:gd name="connsiteX259" fmla="*/ 376805 w 11269336"/>
              <a:gd name="connsiteY259" fmla="*/ 2307647 h 2323145"/>
              <a:gd name="connsiteX260" fmla="*/ 266777 w 11269336"/>
              <a:gd name="connsiteY260" fmla="*/ 2309012 h 2323145"/>
              <a:gd name="connsiteX261" fmla="*/ 156013 w 11269336"/>
              <a:gd name="connsiteY261" fmla="*/ 2306832 h 2323145"/>
              <a:gd name="connsiteX262" fmla="*/ 87258 w 11269336"/>
              <a:gd name="connsiteY262" fmla="*/ 2285511 h 2323145"/>
              <a:gd name="connsiteX263" fmla="*/ 23798 w 11269336"/>
              <a:gd name="connsiteY263" fmla="*/ 2281822 h 2323145"/>
              <a:gd name="connsiteX264" fmla="*/ 0 w 11269336"/>
              <a:gd name="connsiteY264" fmla="*/ 2285369 h 2323145"/>
              <a:gd name="connsiteX265" fmla="*/ 0 w 11269336"/>
              <a:gd name="connsiteY265"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162278 w 11269336"/>
              <a:gd name="connsiteY21" fmla="*/ 704724 h 2323145"/>
              <a:gd name="connsiteX22" fmla="*/ 8977138 w 11269336"/>
              <a:gd name="connsiteY22" fmla="*/ 774970 h 2323145"/>
              <a:gd name="connsiteX23" fmla="*/ 9070855 w 11269336"/>
              <a:gd name="connsiteY23" fmla="*/ 794621 h 2323145"/>
              <a:gd name="connsiteX24" fmla="*/ 8914746 w 11269336"/>
              <a:gd name="connsiteY24" fmla="*/ 826428 h 2323145"/>
              <a:gd name="connsiteX25" fmla="*/ 8917778 w 11269336"/>
              <a:gd name="connsiteY25" fmla="*/ 835198 h 2323145"/>
              <a:gd name="connsiteX26" fmla="*/ 8905560 w 11269336"/>
              <a:gd name="connsiteY26" fmla="*/ 838358 h 2323145"/>
              <a:gd name="connsiteX27" fmla="*/ 8897564 w 11269336"/>
              <a:gd name="connsiteY27" fmla="*/ 834287 h 2323145"/>
              <a:gd name="connsiteX28" fmla="*/ 8878040 w 11269336"/>
              <a:gd name="connsiteY28" fmla="*/ 844150 h 2323145"/>
              <a:gd name="connsiteX29" fmla="*/ 8795998 w 11269336"/>
              <a:gd name="connsiteY29" fmla="*/ 863337 h 2323145"/>
              <a:gd name="connsiteX30" fmla="*/ 8776970 w 11269336"/>
              <a:gd name="connsiteY30" fmla="*/ 885177 h 2323145"/>
              <a:gd name="connsiteX31" fmla="*/ 8755719 w 11269336"/>
              <a:gd name="connsiteY31" fmla="*/ 889754 h 2323145"/>
              <a:gd name="connsiteX32" fmla="*/ 8743257 w 11269336"/>
              <a:gd name="connsiteY32" fmla="*/ 904723 h 2323145"/>
              <a:gd name="connsiteX33" fmla="*/ 8721366 w 11269336"/>
              <a:gd name="connsiteY33" fmla="*/ 904711 h 2323145"/>
              <a:gd name="connsiteX34" fmla="*/ 8678353 w 11269336"/>
              <a:gd name="connsiteY34" fmla="*/ 926318 h 2323145"/>
              <a:gd name="connsiteX35" fmla="*/ 8636849 w 11269336"/>
              <a:gd name="connsiteY35" fmla="*/ 937900 h 2323145"/>
              <a:gd name="connsiteX36" fmla="*/ 8620213 w 11269336"/>
              <a:gd name="connsiteY36" fmla="*/ 943068 h 2323145"/>
              <a:gd name="connsiteX37" fmla="*/ 8612581 w 11269336"/>
              <a:gd name="connsiteY37" fmla="*/ 952695 h 2323145"/>
              <a:gd name="connsiteX38" fmla="*/ 8589038 w 11269336"/>
              <a:gd name="connsiteY38" fmla="*/ 963892 h 2323145"/>
              <a:gd name="connsiteX39" fmla="*/ 8579950 w 11269336"/>
              <a:gd name="connsiteY39" fmla="*/ 960899 h 2323145"/>
              <a:gd name="connsiteX40" fmla="*/ 8579319 w 11269336"/>
              <a:gd name="connsiteY40" fmla="*/ 965630 h 2323145"/>
              <a:gd name="connsiteX41" fmla="*/ 8547429 w 11269336"/>
              <a:gd name="connsiteY41" fmla="*/ 984506 h 2323145"/>
              <a:gd name="connsiteX42" fmla="*/ 8478704 w 11269336"/>
              <a:gd name="connsiteY42" fmla="*/ 1025490 h 2323145"/>
              <a:gd name="connsiteX43" fmla="*/ 8461421 w 11269336"/>
              <a:gd name="connsiteY43" fmla="*/ 1035512 h 2323145"/>
              <a:gd name="connsiteX44" fmla="*/ 8445003 w 11269336"/>
              <a:gd name="connsiteY44" fmla="*/ 1036851 h 2323145"/>
              <a:gd name="connsiteX45" fmla="*/ 8357350 w 11269336"/>
              <a:gd name="connsiteY45" fmla="*/ 1060213 h 2323145"/>
              <a:gd name="connsiteX46" fmla="*/ 8335565 w 11269336"/>
              <a:gd name="connsiteY46" fmla="*/ 1061151 h 2323145"/>
              <a:gd name="connsiteX47" fmla="*/ 8325267 w 11269336"/>
              <a:gd name="connsiteY47" fmla="*/ 1055919 h 2323145"/>
              <a:gd name="connsiteX48" fmla="*/ 8293586 w 11269336"/>
              <a:gd name="connsiteY48" fmla="*/ 1076144 h 2323145"/>
              <a:gd name="connsiteX49" fmla="*/ 8242405 w 11269336"/>
              <a:gd name="connsiteY49" fmla="*/ 1095960 h 2323145"/>
              <a:gd name="connsiteX50" fmla="*/ 8197391 w 11269336"/>
              <a:gd name="connsiteY50" fmla="*/ 1107746 h 2323145"/>
              <a:gd name="connsiteX51" fmla="*/ 8081474 w 11269336"/>
              <a:gd name="connsiteY51" fmla="*/ 1130125 h 2323145"/>
              <a:gd name="connsiteX52" fmla="*/ 8053585 w 11269336"/>
              <a:gd name="connsiteY52" fmla="*/ 1129169 h 2323145"/>
              <a:gd name="connsiteX53" fmla="*/ 8038422 w 11269336"/>
              <a:gd name="connsiteY53" fmla="*/ 1119092 h 2323145"/>
              <a:gd name="connsiteX54" fmla="*/ 8029450 w 11269336"/>
              <a:gd name="connsiteY54" fmla="*/ 1125592 h 2323145"/>
              <a:gd name="connsiteX55" fmla="*/ 7959552 w 11269336"/>
              <a:gd name="connsiteY55" fmla="*/ 1140188 h 2323145"/>
              <a:gd name="connsiteX56" fmla="*/ 7914188 w 11269336"/>
              <a:gd name="connsiteY56" fmla="*/ 1150862 h 2323145"/>
              <a:gd name="connsiteX57" fmla="*/ 7914918 w 11269336"/>
              <a:gd name="connsiteY57" fmla="*/ 1168758 h 2323145"/>
              <a:gd name="connsiteX58" fmla="*/ 7875510 w 11269336"/>
              <a:gd name="connsiteY58" fmla="*/ 1183153 h 2323145"/>
              <a:gd name="connsiteX59" fmla="*/ 7829932 w 11269336"/>
              <a:gd name="connsiteY59" fmla="*/ 1180782 h 2323145"/>
              <a:gd name="connsiteX60" fmla="*/ 7779182 w 11269336"/>
              <a:gd name="connsiteY60" fmla="*/ 1192665 h 2323145"/>
              <a:gd name="connsiteX61" fmla="*/ 7748774 w 11269336"/>
              <a:gd name="connsiteY61" fmla="*/ 1199586 h 2323145"/>
              <a:gd name="connsiteX62" fmla="*/ 7671846 w 11269336"/>
              <a:gd name="connsiteY62" fmla="*/ 1231966 h 2323145"/>
              <a:gd name="connsiteX63" fmla="*/ 7554146 w 11269336"/>
              <a:gd name="connsiteY63" fmla="*/ 1319748 h 2323145"/>
              <a:gd name="connsiteX64" fmla="*/ 7515052 w 11269336"/>
              <a:gd name="connsiteY64" fmla="*/ 1336718 h 2323145"/>
              <a:gd name="connsiteX65" fmla="*/ 7507193 w 11269336"/>
              <a:gd name="connsiteY65" fmla="*/ 1334617 h 2323145"/>
              <a:gd name="connsiteX66" fmla="*/ 7461694 w 11269336"/>
              <a:gd name="connsiteY66" fmla="*/ 1375866 h 2323145"/>
              <a:gd name="connsiteX67" fmla="*/ 7377571 w 11269336"/>
              <a:gd name="connsiteY67" fmla="*/ 1400128 h 2323145"/>
              <a:gd name="connsiteX68" fmla="*/ 7311261 w 11269336"/>
              <a:gd name="connsiteY68" fmla="*/ 1412652 h 2323145"/>
              <a:gd name="connsiteX69" fmla="*/ 7275307 w 11269336"/>
              <a:gd name="connsiteY69" fmla="*/ 1422171 h 2323145"/>
              <a:gd name="connsiteX70" fmla="*/ 7247783 w 11269336"/>
              <a:gd name="connsiteY70" fmla="*/ 1426330 h 2323145"/>
              <a:gd name="connsiteX71" fmla="*/ 7185047 w 11269336"/>
              <a:gd name="connsiteY71" fmla="*/ 1451812 h 2323145"/>
              <a:gd name="connsiteX72" fmla="*/ 7084117 w 11269336"/>
              <a:gd name="connsiteY72" fmla="*/ 1500281 h 2323145"/>
              <a:gd name="connsiteX73" fmla="*/ 7062011 w 11269336"/>
              <a:gd name="connsiteY73" fmla="*/ 1509183 h 2323145"/>
              <a:gd name="connsiteX74" fmla="*/ 7040555 w 11269336"/>
              <a:gd name="connsiteY74" fmla="*/ 1511207 h 2323145"/>
              <a:gd name="connsiteX75" fmla="*/ 7033438 w 11269336"/>
              <a:gd name="connsiteY75" fmla="*/ 1506772 h 2323145"/>
              <a:gd name="connsiteX76" fmla="*/ 7020886 w 11269336"/>
              <a:gd name="connsiteY76" fmla="*/ 1510764 h 2323145"/>
              <a:gd name="connsiteX77" fmla="*/ 7017033 w 11269336"/>
              <a:gd name="connsiteY77" fmla="*/ 1510650 h 2323145"/>
              <a:gd name="connsiteX78" fmla="*/ 6995460 w 11269336"/>
              <a:gd name="connsiteY78" fmla="*/ 1511173 h 2323145"/>
              <a:gd name="connsiteX79" fmla="*/ 6962144 w 11269336"/>
              <a:gd name="connsiteY79" fmla="*/ 1541508 h 2323145"/>
              <a:gd name="connsiteX80" fmla="*/ 6910674 w 11269336"/>
              <a:gd name="connsiteY80" fmla="*/ 1554793 h 2323145"/>
              <a:gd name="connsiteX81" fmla="*/ 6732152 w 11269336"/>
              <a:gd name="connsiteY81" fmla="*/ 1642538 h 2323145"/>
              <a:gd name="connsiteX82" fmla="*/ 6694106 w 11269336"/>
              <a:gd name="connsiteY82" fmla="*/ 1632377 h 2323145"/>
              <a:gd name="connsiteX83" fmla="*/ 6617223 w 11269336"/>
              <a:gd name="connsiteY83" fmla="*/ 1659889 h 2323145"/>
              <a:gd name="connsiteX84" fmla="*/ 6521138 w 11269336"/>
              <a:gd name="connsiteY84" fmla="*/ 1744340 h 2323145"/>
              <a:gd name="connsiteX85" fmla="*/ 6380677 w 11269336"/>
              <a:gd name="connsiteY85" fmla="*/ 1796883 h 2323145"/>
              <a:gd name="connsiteX86" fmla="*/ 6374897 w 11269336"/>
              <a:gd name="connsiteY86" fmla="*/ 1809910 h 2323145"/>
              <a:gd name="connsiteX87" fmla="*/ 6364545 w 11269336"/>
              <a:gd name="connsiteY87" fmla="*/ 1820090 h 2323145"/>
              <a:gd name="connsiteX88" fmla="*/ 6362126 w 11269336"/>
              <a:gd name="connsiteY88" fmla="*/ 1819991 h 2323145"/>
              <a:gd name="connsiteX89" fmla="*/ 6346673 w 11269336"/>
              <a:gd name="connsiteY89" fmla="*/ 1827824 h 2323145"/>
              <a:gd name="connsiteX90" fmla="*/ 6345588 w 11269336"/>
              <a:gd name="connsiteY90" fmla="*/ 1832232 h 2323145"/>
              <a:gd name="connsiteX91" fmla="*/ 6335708 w 11269336"/>
              <a:gd name="connsiteY91" fmla="*/ 1838451 h 2323145"/>
              <a:gd name="connsiteX92" fmla="*/ 6318182 w 11269336"/>
              <a:gd name="connsiteY92" fmla="*/ 1852975 h 2323145"/>
              <a:gd name="connsiteX93" fmla="*/ 6313084 w 11269336"/>
              <a:gd name="connsiteY93" fmla="*/ 1853561 h 2323145"/>
              <a:gd name="connsiteX94" fmla="*/ 6283816 w 11269336"/>
              <a:gd name="connsiteY94" fmla="*/ 1872148 h 2323145"/>
              <a:gd name="connsiteX95" fmla="*/ 6282550 w 11269336"/>
              <a:gd name="connsiteY95" fmla="*/ 1871392 h 2323145"/>
              <a:gd name="connsiteX96" fmla="*/ 6270527 w 11269336"/>
              <a:gd name="connsiteY96" fmla="*/ 1872208 h 2323145"/>
              <a:gd name="connsiteX97" fmla="*/ 6249518 w 11269336"/>
              <a:gd name="connsiteY97" fmla="*/ 1876079 h 2323145"/>
              <a:gd name="connsiteX98" fmla="*/ 6190386 w 11269336"/>
              <a:gd name="connsiteY98" fmla="*/ 1872478 h 2323145"/>
              <a:gd name="connsiteX99" fmla="*/ 6159777 w 11269336"/>
              <a:gd name="connsiteY99" fmla="*/ 1891745 h 2323145"/>
              <a:gd name="connsiteX100" fmla="*/ 6153131 w 11269336"/>
              <a:gd name="connsiteY100" fmla="*/ 1895079 h 2323145"/>
              <a:gd name="connsiteX101" fmla="*/ 6152798 w 11269336"/>
              <a:gd name="connsiteY101" fmla="*/ 1894920 h 2323145"/>
              <a:gd name="connsiteX102" fmla="*/ 6145388 w 11269336"/>
              <a:gd name="connsiteY102" fmla="*/ 1897990 h 2323145"/>
              <a:gd name="connsiteX103" fmla="*/ 6141014 w 11269336"/>
              <a:gd name="connsiteY103" fmla="*/ 1901155 h 2323145"/>
              <a:gd name="connsiteX104" fmla="*/ 6128122 w 11269336"/>
              <a:gd name="connsiteY104" fmla="*/ 1907623 h 2323145"/>
              <a:gd name="connsiteX105" fmla="*/ 6122351 w 11269336"/>
              <a:gd name="connsiteY105" fmla="*/ 1908359 h 2323145"/>
              <a:gd name="connsiteX106" fmla="*/ 6064750 w 11269336"/>
              <a:gd name="connsiteY106" fmla="*/ 1896394 h 2323145"/>
              <a:gd name="connsiteX107" fmla="*/ 5964230 w 11269336"/>
              <a:gd name="connsiteY107" fmla="*/ 1910038 h 2323145"/>
              <a:gd name="connsiteX108" fmla="*/ 5865399 w 11269336"/>
              <a:gd name="connsiteY108" fmla="*/ 1926966 h 2323145"/>
              <a:gd name="connsiteX109" fmla="*/ 5829951 w 11269336"/>
              <a:gd name="connsiteY109" fmla="*/ 1934755 h 2323145"/>
              <a:gd name="connsiteX110" fmla="*/ 5765285 w 11269336"/>
              <a:gd name="connsiteY110" fmla="*/ 1941322 h 2323145"/>
              <a:gd name="connsiteX111" fmla="*/ 5734750 w 11269336"/>
              <a:gd name="connsiteY111" fmla="*/ 1939793 h 2323145"/>
              <a:gd name="connsiteX112" fmla="*/ 5733569 w 11269336"/>
              <a:gd name="connsiteY112" fmla="*/ 1940505 h 2323145"/>
              <a:gd name="connsiteX113" fmla="*/ 5730329 w 11269336"/>
              <a:gd name="connsiteY113" fmla="*/ 1937845 h 2323145"/>
              <a:gd name="connsiteX114" fmla="*/ 5724661 w 11269336"/>
              <a:gd name="connsiteY114" fmla="*/ 1937455 h 2323145"/>
              <a:gd name="connsiteX115" fmla="*/ 5710186 w 11269336"/>
              <a:gd name="connsiteY115" fmla="*/ 1941370 h 2323145"/>
              <a:gd name="connsiteX116" fmla="*/ 5704910 w 11269336"/>
              <a:gd name="connsiteY116" fmla="*/ 1943663 h 2323145"/>
              <a:gd name="connsiteX117" fmla="*/ 5696836 w 11269336"/>
              <a:gd name="connsiteY117" fmla="*/ 1945271 h 2323145"/>
              <a:gd name="connsiteX118" fmla="*/ 5696583 w 11269336"/>
              <a:gd name="connsiteY118" fmla="*/ 1945050 h 2323145"/>
              <a:gd name="connsiteX119" fmla="*/ 5689123 w 11269336"/>
              <a:gd name="connsiteY119" fmla="*/ 1947067 h 2323145"/>
              <a:gd name="connsiteX120" fmla="*/ 5653291 w 11269336"/>
              <a:gd name="connsiteY120" fmla="*/ 1960245 h 2323145"/>
              <a:gd name="connsiteX121" fmla="*/ 5599385 w 11269336"/>
              <a:gd name="connsiteY121" fmla="*/ 1945198 h 2323145"/>
              <a:gd name="connsiteX122" fmla="*/ 5578300 w 11269336"/>
              <a:gd name="connsiteY122" fmla="*/ 1944963 h 2323145"/>
              <a:gd name="connsiteX123" fmla="*/ 5566758 w 11269336"/>
              <a:gd name="connsiteY123" fmla="*/ 1943441 h 2323145"/>
              <a:gd name="connsiteX124" fmla="*/ 5565857 w 11269336"/>
              <a:gd name="connsiteY124" fmla="*/ 1942445 h 2323145"/>
              <a:gd name="connsiteX125" fmla="*/ 5531534 w 11269336"/>
              <a:gd name="connsiteY125" fmla="*/ 1955208 h 2323145"/>
              <a:gd name="connsiteX126" fmla="*/ 5526552 w 11269336"/>
              <a:gd name="connsiteY126" fmla="*/ 1954799 h 2323145"/>
              <a:gd name="connsiteX127" fmla="*/ 5504723 w 11269336"/>
              <a:gd name="connsiteY127" fmla="*/ 1965811 h 2323145"/>
              <a:gd name="connsiteX128" fmla="*/ 5493156 w 11269336"/>
              <a:gd name="connsiteY128" fmla="*/ 1970063 h 2323145"/>
              <a:gd name="connsiteX129" fmla="*/ 5490486 w 11269336"/>
              <a:gd name="connsiteY129" fmla="*/ 1974227 h 2323145"/>
              <a:gd name="connsiteX130" fmla="*/ 5473107 w 11269336"/>
              <a:gd name="connsiteY130" fmla="*/ 1979001 h 2323145"/>
              <a:gd name="connsiteX131" fmla="*/ 5470885 w 11269336"/>
              <a:gd name="connsiteY131" fmla="*/ 1978432 h 2323145"/>
              <a:gd name="connsiteX132" fmla="*/ 5457393 w 11269336"/>
              <a:gd name="connsiteY132" fmla="*/ 1986525 h 2323145"/>
              <a:gd name="connsiteX133" fmla="*/ 5447102 w 11269336"/>
              <a:gd name="connsiteY133" fmla="*/ 1998329 h 2323145"/>
              <a:gd name="connsiteX134" fmla="*/ 5159151 w 11269336"/>
              <a:gd name="connsiteY134" fmla="*/ 2029640 h 2323145"/>
              <a:gd name="connsiteX135" fmla="*/ 5041688 w 11269336"/>
              <a:gd name="connsiteY135" fmla="*/ 2022334 h 2323145"/>
              <a:gd name="connsiteX136" fmla="*/ 4860988 w 11269336"/>
              <a:gd name="connsiteY136" fmla="*/ 2135698 h 2323145"/>
              <a:gd name="connsiteX137" fmla="*/ 4807902 w 11269336"/>
              <a:gd name="connsiteY137" fmla="*/ 2138894 h 2323145"/>
              <a:gd name="connsiteX138" fmla="*/ 4765388 w 11269336"/>
              <a:gd name="connsiteY138" fmla="*/ 2162525 h 2323145"/>
              <a:gd name="connsiteX139" fmla="*/ 4745033 w 11269336"/>
              <a:gd name="connsiteY139" fmla="*/ 2158859 h 2323145"/>
              <a:gd name="connsiteX140" fmla="*/ 4741475 w 11269336"/>
              <a:gd name="connsiteY140" fmla="*/ 2157998 h 2323145"/>
              <a:gd name="connsiteX141" fmla="*/ 4728247 w 11269336"/>
              <a:gd name="connsiteY141" fmla="*/ 2159526 h 2323145"/>
              <a:gd name="connsiteX142" fmla="*/ 4723263 w 11269336"/>
              <a:gd name="connsiteY142" fmla="*/ 2153742 h 2323145"/>
              <a:gd name="connsiteX143" fmla="*/ 4702453 w 11269336"/>
              <a:gd name="connsiteY143" fmla="*/ 2151586 h 2323145"/>
              <a:gd name="connsiteX144" fmla="*/ 4678455 w 11269336"/>
              <a:gd name="connsiteY144" fmla="*/ 2156131 h 2323145"/>
              <a:gd name="connsiteX145" fmla="*/ 4593061 w 11269336"/>
              <a:gd name="connsiteY145" fmla="*/ 2171597 h 2323145"/>
              <a:gd name="connsiteX146" fmla="*/ 4579902 w 11269336"/>
              <a:gd name="connsiteY146" fmla="*/ 2177927 h 2323145"/>
              <a:gd name="connsiteX147" fmla="*/ 4533444 w 11269336"/>
              <a:gd name="connsiteY147" fmla="*/ 2181200 h 2323145"/>
              <a:gd name="connsiteX148" fmla="*/ 4492832 w 11269336"/>
              <a:gd name="connsiteY148" fmla="*/ 2188033 h 2323145"/>
              <a:gd name="connsiteX149" fmla="*/ 4467257 w 11269336"/>
              <a:gd name="connsiteY149" fmla="*/ 2196121 h 2323145"/>
              <a:gd name="connsiteX150" fmla="*/ 4459937 w 11269336"/>
              <a:gd name="connsiteY150" fmla="*/ 2195182 h 2323145"/>
              <a:gd name="connsiteX151" fmla="*/ 4433312 w 11269336"/>
              <a:gd name="connsiteY151" fmla="*/ 2199004 h 2323145"/>
              <a:gd name="connsiteX152" fmla="*/ 4420601 w 11269336"/>
              <a:gd name="connsiteY152" fmla="*/ 2205158 h 2323145"/>
              <a:gd name="connsiteX153" fmla="*/ 4405765 w 11269336"/>
              <a:gd name="connsiteY153" fmla="*/ 2199902 h 2323145"/>
              <a:gd name="connsiteX154" fmla="*/ 4401354 w 11269336"/>
              <a:gd name="connsiteY154" fmla="*/ 2194745 h 2323145"/>
              <a:gd name="connsiteX155" fmla="*/ 4383151 w 11269336"/>
              <a:gd name="connsiteY155" fmla="*/ 2201140 h 2323145"/>
              <a:gd name="connsiteX156" fmla="*/ 4366646 w 11269336"/>
              <a:gd name="connsiteY156" fmla="*/ 2198564 h 2323145"/>
              <a:gd name="connsiteX157" fmla="*/ 4354009 w 11269336"/>
              <a:gd name="connsiteY157" fmla="*/ 2204984 h 2323145"/>
              <a:gd name="connsiteX158" fmla="*/ 4348284 w 11269336"/>
              <a:gd name="connsiteY158" fmla="*/ 2205270 h 2323145"/>
              <a:gd name="connsiteX159" fmla="*/ 4333906 w 11269336"/>
              <a:gd name="connsiteY159" fmla="*/ 2205251 h 2323145"/>
              <a:gd name="connsiteX160" fmla="*/ 4308819 w 11269336"/>
              <a:gd name="connsiteY160" fmla="*/ 2203822 h 2323145"/>
              <a:gd name="connsiteX161" fmla="*/ 4301210 w 11269336"/>
              <a:gd name="connsiteY161" fmla="*/ 2204456 h 2323145"/>
              <a:gd name="connsiteX162" fmla="*/ 4283095 w 11269336"/>
              <a:gd name="connsiteY162" fmla="*/ 2198177 h 2323145"/>
              <a:gd name="connsiteX163" fmla="*/ 4250119 w 11269336"/>
              <a:gd name="connsiteY163" fmla="*/ 2196342 h 2323145"/>
              <a:gd name="connsiteX164" fmla="*/ 4189203 w 11269336"/>
              <a:gd name="connsiteY164" fmla="*/ 2178994 h 2323145"/>
              <a:gd name="connsiteX165" fmla="*/ 4154035 w 11269336"/>
              <a:gd name="connsiteY165" fmla="*/ 2171950 h 2323145"/>
              <a:gd name="connsiteX166" fmla="*/ 4129569 w 11269336"/>
              <a:gd name="connsiteY166" fmla="*/ 2163850 h 2323145"/>
              <a:gd name="connsiteX167" fmla="*/ 4061250 w 11269336"/>
              <a:gd name="connsiteY167" fmla="*/ 2159236 h 2323145"/>
              <a:gd name="connsiteX168" fmla="*/ 3945480 w 11269336"/>
              <a:gd name="connsiteY168" fmla="*/ 2158279 h 2323145"/>
              <a:gd name="connsiteX169" fmla="*/ 3921468 w 11269336"/>
              <a:gd name="connsiteY169" fmla="*/ 2156588 h 2323145"/>
              <a:gd name="connsiteX170" fmla="*/ 3903348 w 11269336"/>
              <a:gd name="connsiteY170" fmla="*/ 2149220 h 2323145"/>
              <a:gd name="connsiteX171" fmla="*/ 3901342 w 11269336"/>
              <a:gd name="connsiteY171" fmla="*/ 2142355 h 2323145"/>
              <a:gd name="connsiteX172" fmla="*/ 3888539 w 11269336"/>
              <a:gd name="connsiteY172" fmla="*/ 2140476 h 2323145"/>
              <a:gd name="connsiteX173" fmla="*/ 3885662 w 11269336"/>
              <a:gd name="connsiteY173" fmla="*/ 2138740 h 2323145"/>
              <a:gd name="connsiteX174" fmla="*/ 3868627 w 11269336"/>
              <a:gd name="connsiteY174" fmla="*/ 2130023 h 2323145"/>
              <a:gd name="connsiteX175" fmla="*/ 3819177 w 11269336"/>
              <a:gd name="connsiteY175" fmla="*/ 2142111 h 2323145"/>
              <a:gd name="connsiteX176" fmla="*/ 3769100 w 11269336"/>
              <a:gd name="connsiteY176" fmla="*/ 2131731 h 2323145"/>
              <a:gd name="connsiteX177" fmla="*/ 3562752 w 11269336"/>
              <a:gd name="connsiteY177" fmla="*/ 2131785 h 2323145"/>
              <a:gd name="connsiteX178" fmla="*/ 3541402 w 11269336"/>
              <a:gd name="connsiteY178" fmla="*/ 2106821 h 2323145"/>
              <a:gd name="connsiteX179" fmla="*/ 3365341 w 11269336"/>
              <a:gd name="connsiteY179" fmla="*/ 2077638 h 2323145"/>
              <a:gd name="connsiteX180" fmla="*/ 3170922 w 11269336"/>
              <a:gd name="connsiteY180" fmla="*/ 2115957 h 2323145"/>
              <a:gd name="connsiteX181" fmla="*/ 3156256 w 11269336"/>
              <a:gd name="connsiteY181" fmla="*/ 2124773 h 2323145"/>
              <a:gd name="connsiteX182" fmla="*/ 3140298 w 11269336"/>
              <a:gd name="connsiteY182" fmla="*/ 2129182 h 2323145"/>
              <a:gd name="connsiteX183" fmla="*/ 3138514 w 11269336"/>
              <a:gd name="connsiteY183" fmla="*/ 2128069 h 2323145"/>
              <a:gd name="connsiteX184" fmla="*/ 3120467 w 11269336"/>
              <a:gd name="connsiteY184" fmla="*/ 2128281 h 2323145"/>
              <a:gd name="connsiteX185" fmla="*/ 3116175 w 11269336"/>
              <a:gd name="connsiteY185" fmla="*/ 2131633 h 2323145"/>
              <a:gd name="connsiteX186" fmla="*/ 3103685 w 11269336"/>
              <a:gd name="connsiteY186" fmla="*/ 2132814 h 2323145"/>
              <a:gd name="connsiteX187" fmla="*/ 3078794 w 11269336"/>
              <a:gd name="connsiteY187" fmla="*/ 2137935 h 2323145"/>
              <a:gd name="connsiteX188" fmla="*/ 3074407 w 11269336"/>
              <a:gd name="connsiteY188" fmla="*/ 2136274 h 2323145"/>
              <a:gd name="connsiteX189" fmla="*/ 3037285 w 11269336"/>
              <a:gd name="connsiteY189" fmla="*/ 2139919 h 2323145"/>
              <a:gd name="connsiteX190" fmla="*/ 3036901 w 11269336"/>
              <a:gd name="connsiteY190" fmla="*/ 2138726 h 2323145"/>
              <a:gd name="connsiteX191" fmla="*/ 3026996 w 11269336"/>
              <a:gd name="connsiteY191" fmla="*/ 2134322 h 2323145"/>
              <a:gd name="connsiteX192" fmla="*/ 3007772 w 11269336"/>
              <a:gd name="connsiteY192" fmla="*/ 2128742 h 2323145"/>
              <a:gd name="connsiteX193" fmla="*/ 2965030 w 11269336"/>
              <a:gd name="connsiteY193" fmla="*/ 2100494 h 2323145"/>
              <a:gd name="connsiteX194" fmla="*/ 2926342 w 11269336"/>
              <a:gd name="connsiteY194" fmla="*/ 2104155 h 2323145"/>
              <a:gd name="connsiteX195" fmla="*/ 2918608 w 11269336"/>
              <a:gd name="connsiteY195" fmla="*/ 2104215 h 2323145"/>
              <a:gd name="connsiteX196" fmla="*/ 2918475 w 11269336"/>
              <a:gd name="connsiteY196" fmla="*/ 2103937 h 2323145"/>
              <a:gd name="connsiteX197" fmla="*/ 2910360 w 11269336"/>
              <a:gd name="connsiteY197" fmla="*/ 2103444 h 2323145"/>
              <a:gd name="connsiteX198" fmla="*/ 2904507 w 11269336"/>
              <a:gd name="connsiteY198" fmla="*/ 2104326 h 2323145"/>
              <a:gd name="connsiteX199" fmla="*/ 2889503 w 11269336"/>
              <a:gd name="connsiteY199" fmla="*/ 2104443 h 2323145"/>
              <a:gd name="connsiteX200" fmla="*/ 2884480 w 11269336"/>
              <a:gd name="connsiteY200" fmla="*/ 2102626 h 2323145"/>
              <a:gd name="connsiteX201" fmla="*/ 2882689 w 11269336"/>
              <a:gd name="connsiteY201" fmla="*/ 2099228 h 2323145"/>
              <a:gd name="connsiteX202" fmla="*/ 2881291 w 11269336"/>
              <a:gd name="connsiteY202" fmla="*/ 2099618 h 2323145"/>
              <a:gd name="connsiteX203" fmla="*/ 2853979 w 11269336"/>
              <a:gd name="connsiteY203" fmla="*/ 2090388 h 2323145"/>
              <a:gd name="connsiteX204" fmla="*/ 2791790 w 11269336"/>
              <a:gd name="connsiteY204" fmla="*/ 2080332 h 2323145"/>
              <a:gd name="connsiteX205" fmla="*/ 2755844 w 11269336"/>
              <a:gd name="connsiteY205" fmla="*/ 2078874 h 2323145"/>
              <a:gd name="connsiteX206" fmla="*/ 2657742 w 11269336"/>
              <a:gd name="connsiteY206" fmla="*/ 2070179 h 2323145"/>
              <a:gd name="connsiteX207" fmla="*/ 2559549 w 11269336"/>
              <a:gd name="connsiteY207" fmla="*/ 2057873 h 2323145"/>
              <a:gd name="connsiteX208" fmla="*/ 2512054 w 11269336"/>
              <a:gd name="connsiteY208" fmla="*/ 2031671 h 2323145"/>
              <a:gd name="connsiteX209" fmla="*/ 2506437 w 11269336"/>
              <a:gd name="connsiteY209" fmla="*/ 2030918 h 2323145"/>
              <a:gd name="connsiteX210" fmla="*/ 2491752 w 11269336"/>
              <a:gd name="connsiteY210" fmla="*/ 2033906 h 2323145"/>
              <a:gd name="connsiteX211" fmla="*/ 2486338 w 11269336"/>
              <a:gd name="connsiteY211" fmla="*/ 2035862 h 2323145"/>
              <a:gd name="connsiteX212" fmla="*/ 2478186 w 11269336"/>
              <a:gd name="connsiteY212" fmla="*/ 2036953 h 2323145"/>
              <a:gd name="connsiteX213" fmla="*/ 2477950 w 11269336"/>
              <a:gd name="connsiteY213" fmla="*/ 2036715 h 2323145"/>
              <a:gd name="connsiteX214" fmla="*/ 2470381 w 11269336"/>
              <a:gd name="connsiteY214" fmla="*/ 2038256 h 2323145"/>
              <a:gd name="connsiteX215" fmla="*/ 2433781 w 11269336"/>
              <a:gd name="connsiteY215" fmla="*/ 2049140 h 2323145"/>
              <a:gd name="connsiteX216" fmla="*/ 2381172 w 11269336"/>
              <a:gd name="connsiteY216" fmla="*/ 2030645 h 2323145"/>
              <a:gd name="connsiteX217" fmla="*/ 2360198 w 11269336"/>
              <a:gd name="connsiteY217" fmla="*/ 2029059 h 2323145"/>
              <a:gd name="connsiteX218" fmla="*/ 2348815 w 11269336"/>
              <a:gd name="connsiteY218" fmla="*/ 2026798 h 2323145"/>
              <a:gd name="connsiteX219" fmla="*/ 2347988 w 11269336"/>
              <a:gd name="connsiteY219" fmla="*/ 2025745 h 2323145"/>
              <a:gd name="connsiteX220" fmla="*/ 2312920 w 11269336"/>
              <a:gd name="connsiteY220" fmla="*/ 2036311 h 2323145"/>
              <a:gd name="connsiteX221" fmla="*/ 2307986 w 11269336"/>
              <a:gd name="connsiteY221" fmla="*/ 2035583 h 2323145"/>
              <a:gd name="connsiteX222" fmla="*/ 2285481 w 11269336"/>
              <a:gd name="connsiteY222" fmla="*/ 2045197 h 2323145"/>
              <a:gd name="connsiteX223" fmla="*/ 2273666 w 11269336"/>
              <a:gd name="connsiteY223" fmla="*/ 2048710 h 2323145"/>
              <a:gd name="connsiteX224" fmla="*/ 2270719 w 11269336"/>
              <a:gd name="connsiteY224" fmla="*/ 2052702 h 2323145"/>
              <a:gd name="connsiteX225" fmla="*/ 2253080 w 11269336"/>
              <a:gd name="connsiteY225" fmla="*/ 2056363 h 2323145"/>
              <a:gd name="connsiteX226" fmla="*/ 2250906 w 11269336"/>
              <a:gd name="connsiteY226" fmla="*/ 2055654 h 2323145"/>
              <a:gd name="connsiteX227" fmla="*/ 2236905 w 11269336"/>
              <a:gd name="connsiteY227" fmla="*/ 2062882 h 2323145"/>
              <a:gd name="connsiteX228" fmla="*/ 2225830 w 11269336"/>
              <a:gd name="connsiteY228" fmla="*/ 2074027 h 2323145"/>
              <a:gd name="connsiteX229" fmla="*/ 2073776 w 11269336"/>
              <a:gd name="connsiteY229" fmla="*/ 2089244 h 2323145"/>
              <a:gd name="connsiteX230" fmla="*/ 1948256 w 11269336"/>
              <a:gd name="connsiteY230" fmla="*/ 2146616 h 2323145"/>
              <a:gd name="connsiteX231" fmla="*/ 1865582 w 11269336"/>
              <a:gd name="connsiteY231" fmla="*/ 2153738 h 2323145"/>
              <a:gd name="connsiteX232" fmla="*/ 1835210 w 11269336"/>
              <a:gd name="connsiteY232" fmla="*/ 2134244 h 2323145"/>
              <a:gd name="connsiteX233" fmla="*/ 1632661 w 11269336"/>
              <a:gd name="connsiteY233" fmla="*/ 2173882 h 2323145"/>
              <a:gd name="connsiteX234" fmla="*/ 1579590 w 11269336"/>
              <a:gd name="connsiteY234" fmla="*/ 2173680 h 2323145"/>
              <a:gd name="connsiteX235" fmla="*/ 1535601 w 11269336"/>
              <a:gd name="connsiteY235" fmla="*/ 2194590 h 2323145"/>
              <a:gd name="connsiteX236" fmla="*/ 1515594 w 11269336"/>
              <a:gd name="connsiteY236" fmla="*/ 2189622 h 2323145"/>
              <a:gd name="connsiteX237" fmla="*/ 1512113 w 11269336"/>
              <a:gd name="connsiteY237" fmla="*/ 2188534 h 2323145"/>
              <a:gd name="connsiteX238" fmla="*/ 1498838 w 11269336"/>
              <a:gd name="connsiteY238" fmla="*/ 2189213 h 2323145"/>
              <a:gd name="connsiteX239" fmla="*/ 1494279 w 11269336"/>
              <a:gd name="connsiteY239" fmla="*/ 2183112 h 2323145"/>
              <a:gd name="connsiteX240" fmla="*/ 1473714 w 11269336"/>
              <a:gd name="connsiteY240" fmla="*/ 2179625 h 2323145"/>
              <a:gd name="connsiteX241" fmla="*/ 1449503 w 11269336"/>
              <a:gd name="connsiteY241" fmla="*/ 2182633 h 2323145"/>
              <a:gd name="connsiteX242" fmla="*/ 1266687 w 11269336"/>
              <a:gd name="connsiteY242" fmla="*/ 2212688 h 2323145"/>
              <a:gd name="connsiteX243" fmla="*/ 1239614 w 11269336"/>
              <a:gd name="connsiteY243" fmla="*/ 2209727 h 2323145"/>
              <a:gd name="connsiteX244" fmla="*/ 1202436 w 11269336"/>
              <a:gd name="connsiteY244" fmla="*/ 2209817 h 2323145"/>
              <a:gd name="connsiteX245" fmla="*/ 1136097 w 11269336"/>
              <a:gd name="connsiteY245" fmla="*/ 2205112 h 2323145"/>
              <a:gd name="connsiteX246" fmla="*/ 988232 w 11269336"/>
              <a:gd name="connsiteY246" fmla="*/ 2235635 h 2323145"/>
              <a:gd name="connsiteX247" fmla="*/ 981959 w 11269336"/>
              <a:gd name="connsiteY247" fmla="*/ 2231607 h 2323145"/>
              <a:gd name="connsiteX248" fmla="*/ 938600 w 11269336"/>
              <a:gd name="connsiteY248" fmla="*/ 2238113 h 2323145"/>
              <a:gd name="connsiteX249" fmla="*/ 791788 w 11269336"/>
              <a:gd name="connsiteY249" fmla="*/ 2293224 h 2323145"/>
              <a:gd name="connsiteX250" fmla="*/ 706914 w 11269336"/>
              <a:gd name="connsiteY250" fmla="*/ 2305046 h 2323145"/>
              <a:gd name="connsiteX251" fmla="*/ 675971 w 11269336"/>
              <a:gd name="connsiteY251" fmla="*/ 2304030 h 2323145"/>
              <a:gd name="connsiteX252" fmla="*/ 624180 w 11269336"/>
              <a:gd name="connsiteY252" fmla="*/ 2302650 h 2323145"/>
              <a:gd name="connsiteX253" fmla="*/ 583453 w 11269336"/>
              <a:gd name="connsiteY253" fmla="*/ 2288788 h 2323145"/>
              <a:gd name="connsiteX254" fmla="*/ 540946 w 11269336"/>
              <a:gd name="connsiteY254" fmla="*/ 2292721 h 2323145"/>
              <a:gd name="connsiteX255" fmla="*/ 533680 w 11269336"/>
              <a:gd name="connsiteY255" fmla="*/ 2310233 h 2323145"/>
              <a:gd name="connsiteX256" fmla="*/ 487366 w 11269336"/>
              <a:gd name="connsiteY256" fmla="*/ 2309053 h 2323145"/>
              <a:gd name="connsiteX257" fmla="*/ 416820 w 11269336"/>
              <a:gd name="connsiteY257" fmla="*/ 2305443 h 2323145"/>
              <a:gd name="connsiteX258" fmla="*/ 376805 w 11269336"/>
              <a:gd name="connsiteY258" fmla="*/ 2307647 h 2323145"/>
              <a:gd name="connsiteX259" fmla="*/ 266777 w 11269336"/>
              <a:gd name="connsiteY259" fmla="*/ 2309012 h 2323145"/>
              <a:gd name="connsiteX260" fmla="*/ 156013 w 11269336"/>
              <a:gd name="connsiteY260" fmla="*/ 2306832 h 2323145"/>
              <a:gd name="connsiteX261" fmla="*/ 87258 w 11269336"/>
              <a:gd name="connsiteY261" fmla="*/ 2285511 h 2323145"/>
              <a:gd name="connsiteX262" fmla="*/ 23798 w 11269336"/>
              <a:gd name="connsiteY262" fmla="*/ 2281822 h 2323145"/>
              <a:gd name="connsiteX263" fmla="*/ 0 w 11269336"/>
              <a:gd name="connsiteY263" fmla="*/ 2285369 h 2323145"/>
              <a:gd name="connsiteX264" fmla="*/ 0 w 11269336"/>
              <a:gd name="connsiteY264"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162278 w 11269336"/>
              <a:gd name="connsiteY21" fmla="*/ 704724 h 2323145"/>
              <a:gd name="connsiteX22" fmla="*/ 8977138 w 11269336"/>
              <a:gd name="connsiteY22" fmla="*/ 774970 h 2323145"/>
              <a:gd name="connsiteX23" fmla="*/ 8914746 w 11269336"/>
              <a:gd name="connsiteY23" fmla="*/ 826428 h 2323145"/>
              <a:gd name="connsiteX24" fmla="*/ 8917778 w 11269336"/>
              <a:gd name="connsiteY24" fmla="*/ 835198 h 2323145"/>
              <a:gd name="connsiteX25" fmla="*/ 8905560 w 11269336"/>
              <a:gd name="connsiteY25" fmla="*/ 838358 h 2323145"/>
              <a:gd name="connsiteX26" fmla="*/ 8897564 w 11269336"/>
              <a:gd name="connsiteY26" fmla="*/ 834287 h 2323145"/>
              <a:gd name="connsiteX27" fmla="*/ 8878040 w 11269336"/>
              <a:gd name="connsiteY27" fmla="*/ 844150 h 2323145"/>
              <a:gd name="connsiteX28" fmla="*/ 8795998 w 11269336"/>
              <a:gd name="connsiteY28" fmla="*/ 863337 h 2323145"/>
              <a:gd name="connsiteX29" fmla="*/ 8776970 w 11269336"/>
              <a:gd name="connsiteY29" fmla="*/ 885177 h 2323145"/>
              <a:gd name="connsiteX30" fmla="*/ 8755719 w 11269336"/>
              <a:gd name="connsiteY30" fmla="*/ 889754 h 2323145"/>
              <a:gd name="connsiteX31" fmla="*/ 8743257 w 11269336"/>
              <a:gd name="connsiteY31" fmla="*/ 904723 h 2323145"/>
              <a:gd name="connsiteX32" fmla="*/ 8721366 w 11269336"/>
              <a:gd name="connsiteY32" fmla="*/ 904711 h 2323145"/>
              <a:gd name="connsiteX33" fmla="*/ 8678353 w 11269336"/>
              <a:gd name="connsiteY33" fmla="*/ 926318 h 2323145"/>
              <a:gd name="connsiteX34" fmla="*/ 8636849 w 11269336"/>
              <a:gd name="connsiteY34" fmla="*/ 937900 h 2323145"/>
              <a:gd name="connsiteX35" fmla="*/ 8620213 w 11269336"/>
              <a:gd name="connsiteY35" fmla="*/ 943068 h 2323145"/>
              <a:gd name="connsiteX36" fmla="*/ 8612581 w 11269336"/>
              <a:gd name="connsiteY36" fmla="*/ 952695 h 2323145"/>
              <a:gd name="connsiteX37" fmla="*/ 8589038 w 11269336"/>
              <a:gd name="connsiteY37" fmla="*/ 963892 h 2323145"/>
              <a:gd name="connsiteX38" fmla="*/ 8579950 w 11269336"/>
              <a:gd name="connsiteY38" fmla="*/ 960899 h 2323145"/>
              <a:gd name="connsiteX39" fmla="*/ 8579319 w 11269336"/>
              <a:gd name="connsiteY39" fmla="*/ 965630 h 2323145"/>
              <a:gd name="connsiteX40" fmla="*/ 8547429 w 11269336"/>
              <a:gd name="connsiteY40" fmla="*/ 984506 h 2323145"/>
              <a:gd name="connsiteX41" fmla="*/ 8478704 w 11269336"/>
              <a:gd name="connsiteY41" fmla="*/ 1025490 h 2323145"/>
              <a:gd name="connsiteX42" fmla="*/ 8461421 w 11269336"/>
              <a:gd name="connsiteY42" fmla="*/ 1035512 h 2323145"/>
              <a:gd name="connsiteX43" fmla="*/ 8445003 w 11269336"/>
              <a:gd name="connsiteY43" fmla="*/ 1036851 h 2323145"/>
              <a:gd name="connsiteX44" fmla="*/ 8357350 w 11269336"/>
              <a:gd name="connsiteY44" fmla="*/ 1060213 h 2323145"/>
              <a:gd name="connsiteX45" fmla="*/ 8335565 w 11269336"/>
              <a:gd name="connsiteY45" fmla="*/ 1061151 h 2323145"/>
              <a:gd name="connsiteX46" fmla="*/ 8325267 w 11269336"/>
              <a:gd name="connsiteY46" fmla="*/ 1055919 h 2323145"/>
              <a:gd name="connsiteX47" fmla="*/ 8293586 w 11269336"/>
              <a:gd name="connsiteY47" fmla="*/ 1076144 h 2323145"/>
              <a:gd name="connsiteX48" fmla="*/ 8242405 w 11269336"/>
              <a:gd name="connsiteY48" fmla="*/ 1095960 h 2323145"/>
              <a:gd name="connsiteX49" fmla="*/ 8197391 w 11269336"/>
              <a:gd name="connsiteY49" fmla="*/ 1107746 h 2323145"/>
              <a:gd name="connsiteX50" fmla="*/ 8081474 w 11269336"/>
              <a:gd name="connsiteY50" fmla="*/ 1130125 h 2323145"/>
              <a:gd name="connsiteX51" fmla="*/ 8053585 w 11269336"/>
              <a:gd name="connsiteY51" fmla="*/ 1129169 h 2323145"/>
              <a:gd name="connsiteX52" fmla="*/ 8038422 w 11269336"/>
              <a:gd name="connsiteY52" fmla="*/ 1119092 h 2323145"/>
              <a:gd name="connsiteX53" fmla="*/ 8029450 w 11269336"/>
              <a:gd name="connsiteY53" fmla="*/ 1125592 h 2323145"/>
              <a:gd name="connsiteX54" fmla="*/ 7959552 w 11269336"/>
              <a:gd name="connsiteY54" fmla="*/ 1140188 h 2323145"/>
              <a:gd name="connsiteX55" fmla="*/ 7914188 w 11269336"/>
              <a:gd name="connsiteY55" fmla="*/ 1150862 h 2323145"/>
              <a:gd name="connsiteX56" fmla="*/ 7914918 w 11269336"/>
              <a:gd name="connsiteY56" fmla="*/ 1168758 h 2323145"/>
              <a:gd name="connsiteX57" fmla="*/ 7875510 w 11269336"/>
              <a:gd name="connsiteY57" fmla="*/ 1183153 h 2323145"/>
              <a:gd name="connsiteX58" fmla="*/ 7829932 w 11269336"/>
              <a:gd name="connsiteY58" fmla="*/ 1180782 h 2323145"/>
              <a:gd name="connsiteX59" fmla="*/ 7779182 w 11269336"/>
              <a:gd name="connsiteY59" fmla="*/ 1192665 h 2323145"/>
              <a:gd name="connsiteX60" fmla="*/ 7748774 w 11269336"/>
              <a:gd name="connsiteY60" fmla="*/ 1199586 h 2323145"/>
              <a:gd name="connsiteX61" fmla="*/ 7671846 w 11269336"/>
              <a:gd name="connsiteY61" fmla="*/ 1231966 h 2323145"/>
              <a:gd name="connsiteX62" fmla="*/ 7554146 w 11269336"/>
              <a:gd name="connsiteY62" fmla="*/ 1319748 h 2323145"/>
              <a:gd name="connsiteX63" fmla="*/ 7515052 w 11269336"/>
              <a:gd name="connsiteY63" fmla="*/ 1336718 h 2323145"/>
              <a:gd name="connsiteX64" fmla="*/ 7507193 w 11269336"/>
              <a:gd name="connsiteY64" fmla="*/ 1334617 h 2323145"/>
              <a:gd name="connsiteX65" fmla="*/ 7461694 w 11269336"/>
              <a:gd name="connsiteY65" fmla="*/ 1375866 h 2323145"/>
              <a:gd name="connsiteX66" fmla="*/ 7377571 w 11269336"/>
              <a:gd name="connsiteY66" fmla="*/ 1400128 h 2323145"/>
              <a:gd name="connsiteX67" fmla="*/ 7311261 w 11269336"/>
              <a:gd name="connsiteY67" fmla="*/ 1412652 h 2323145"/>
              <a:gd name="connsiteX68" fmla="*/ 7275307 w 11269336"/>
              <a:gd name="connsiteY68" fmla="*/ 1422171 h 2323145"/>
              <a:gd name="connsiteX69" fmla="*/ 7247783 w 11269336"/>
              <a:gd name="connsiteY69" fmla="*/ 1426330 h 2323145"/>
              <a:gd name="connsiteX70" fmla="*/ 7185047 w 11269336"/>
              <a:gd name="connsiteY70" fmla="*/ 1451812 h 2323145"/>
              <a:gd name="connsiteX71" fmla="*/ 7084117 w 11269336"/>
              <a:gd name="connsiteY71" fmla="*/ 1500281 h 2323145"/>
              <a:gd name="connsiteX72" fmla="*/ 7062011 w 11269336"/>
              <a:gd name="connsiteY72" fmla="*/ 1509183 h 2323145"/>
              <a:gd name="connsiteX73" fmla="*/ 7040555 w 11269336"/>
              <a:gd name="connsiteY73" fmla="*/ 1511207 h 2323145"/>
              <a:gd name="connsiteX74" fmla="*/ 7033438 w 11269336"/>
              <a:gd name="connsiteY74" fmla="*/ 1506772 h 2323145"/>
              <a:gd name="connsiteX75" fmla="*/ 7020886 w 11269336"/>
              <a:gd name="connsiteY75" fmla="*/ 1510764 h 2323145"/>
              <a:gd name="connsiteX76" fmla="*/ 7017033 w 11269336"/>
              <a:gd name="connsiteY76" fmla="*/ 1510650 h 2323145"/>
              <a:gd name="connsiteX77" fmla="*/ 6995460 w 11269336"/>
              <a:gd name="connsiteY77" fmla="*/ 1511173 h 2323145"/>
              <a:gd name="connsiteX78" fmla="*/ 6962144 w 11269336"/>
              <a:gd name="connsiteY78" fmla="*/ 1541508 h 2323145"/>
              <a:gd name="connsiteX79" fmla="*/ 6910674 w 11269336"/>
              <a:gd name="connsiteY79" fmla="*/ 1554793 h 2323145"/>
              <a:gd name="connsiteX80" fmla="*/ 6732152 w 11269336"/>
              <a:gd name="connsiteY80" fmla="*/ 1642538 h 2323145"/>
              <a:gd name="connsiteX81" fmla="*/ 6694106 w 11269336"/>
              <a:gd name="connsiteY81" fmla="*/ 1632377 h 2323145"/>
              <a:gd name="connsiteX82" fmla="*/ 6617223 w 11269336"/>
              <a:gd name="connsiteY82" fmla="*/ 1659889 h 2323145"/>
              <a:gd name="connsiteX83" fmla="*/ 6521138 w 11269336"/>
              <a:gd name="connsiteY83" fmla="*/ 1744340 h 2323145"/>
              <a:gd name="connsiteX84" fmla="*/ 6380677 w 11269336"/>
              <a:gd name="connsiteY84" fmla="*/ 1796883 h 2323145"/>
              <a:gd name="connsiteX85" fmla="*/ 6374897 w 11269336"/>
              <a:gd name="connsiteY85" fmla="*/ 1809910 h 2323145"/>
              <a:gd name="connsiteX86" fmla="*/ 6364545 w 11269336"/>
              <a:gd name="connsiteY86" fmla="*/ 1820090 h 2323145"/>
              <a:gd name="connsiteX87" fmla="*/ 6362126 w 11269336"/>
              <a:gd name="connsiteY87" fmla="*/ 1819991 h 2323145"/>
              <a:gd name="connsiteX88" fmla="*/ 6346673 w 11269336"/>
              <a:gd name="connsiteY88" fmla="*/ 1827824 h 2323145"/>
              <a:gd name="connsiteX89" fmla="*/ 6345588 w 11269336"/>
              <a:gd name="connsiteY89" fmla="*/ 1832232 h 2323145"/>
              <a:gd name="connsiteX90" fmla="*/ 6335708 w 11269336"/>
              <a:gd name="connsiteY90" fmla="*/ 1838451 h 2323145"/>
              <a:gd name="connsiteX91" fmla="*/ 6318182 w 11269336"/>
              <a:gd name="connsiteY91" fmla="*/ 1852975 h 2323145"/>
              <a:gd name="connsiteX92" fmla="*/ 6313084 w 11269336"/>
              <a:gd name="connsiteY92" fmla="*/ 1853561 h 2323145"/>
              <a:gd name="connsiteX93" fmla="*/ 6283816 w 11269336"/>
              <a:gd name="connsiteY93" fmla="*/ 1872148 h 2323145"/>
              <a:gd name="connsiteX94" fmla="*/ 6282550 w 11269336"/>
              <a:gd name="connsiteY94" fmla="*/ 1871392 h 2323145"/>
              <a:gd name="connsiteX95" fmla="*/ 6270527 w 11269336"/>
              <a:gd name="connsiteY95" fmla="*/ 1872208 h 2323145"/>
              <a:gd name="connsiteX96" fmla="*/ 6249518 w 11269336"/>
              <a:gd name="connsiteY96" fmla="*/ 1876079 h 2323145"/>
              <a:gd name="connsiteX97" fmla="*/ 6190386 w 11269336"/>
              <a:gd name="connsiteY97" fmla="*/ 1872478 h 2323145"/>
              <a:gd name="connsiteX98" fmla="*/ 6159777 w 11269336"/>
              <a:gd name="connsiteY98" fmla="*/ 1891745 h 2323145"/>
              <a:gd name="connsiteX99" fmla="*/ 6153131 w 11269336"/>
              <a:gd name="connsiteY99" fmla="*/ 1895079 h 2323145"/>
              <a:gd name="connsiteX100" fmla="*/ 6152798 w 11269336"/>
              <a:gd name="connsiteY100" fmla="*/ 1894920 h 2323145"/>
              <a:gd name="connsiteX101" fmla="*/ 6145388 w 11269336"/>
              <a:gd name="connsiteY101" fmla="*/ 1897990 h 2323145"/>
              <a:gd name="connsiteX102" fmla="*/ 6141014 w 11269336"/>
              <a:gd name="connsiteY102" fmla="*/ 1901155 h 2323145"/>
              <a:gd name="connsiteX103" fmla="*/ 6128122 w 11269336"/>
              <a:gd name="connsiteY103" fmla="*/ 1907623 h 2323145"/>
              <a:gd name="connsiteX104" fmla="*/ 6122351 w 11269336"/>
              <a:gd name="connsiteY104" fmla="*/ 1908359 h 2323145"/>
              <a:gd name="connsiteX105" fmla="*/ 6064750 w 11269336"/>
              <a:gd name="connsiteY105" fmla="*/ 1896394 h 2323145"/>
              <a:gd name="connsiteX106" fmla="*/ 5964230 w 11269336"/>
              <a:gd name="connsiteY106" fmla="*/ 1910038 h 2323145"/>
              <a:gd name="connsiteX107" fmla="*/ 5865399 w 11269336"/>
              <a:gd name="connsiteY107" fmla="*/ 1926966 h 2323145"/>
              <a:gd name="connsiteX108" fmla="*/ 5829951 w 11269336"/>
              <a:gd name="connsiteY108" fmla="*/ 1934755 h 2323145"/>
              <a:gd name="connsiteX109" fmla="*/ 5765285 w 11269336"/>
              <a:gd name="connsiteY109" fmla="*/ 1941322 h 2323145"/>
              <a:gd name="connsiteX110" fmla="*/ 5734750 w 11269336"/>
              <a:gd name="connsiteY110" fmla="*/ 1939793 h 2323145"/>
              <a:gd name="connsiteX111" fmla="*/ 5733569 w 11269336"/>
              <a:gd name="connsiteY111" fmla="*/ 1940505 h 2323145"/>
              <a:gd name="connsiteX112" fmla="*/ 5730329 w 11269336"/>
              <a:gd name="connsiteY112" fmla="*/ 1937845 h 2323145"/>
              <a:gd name="connsiteX113" fmla="*/ 5724661 w 11269336"/>
              <a:gd name="connsiteY113" fmla="*/ 1937455 h 2323145"/>
              <a:gd name="connsiteX114" fmla="*/ 5710186 w 11269336"/>
              <a:gd name="connsiteY114" fmla="*/ 1941370 h 2323145"/>
              <a:gd name="connsiteX115" fmla="*/ 5704910 w 11269336"/>
              <a:gd name="connsiteY115" fmla="*/ 1943663 h 2323145"/>
              <a:gd name="connsiteX116" fmla="*/ 5696836 w 11269336"/>
              <a:gd name="connsiteY116" fmla="*/ 1945271 h 2323145"/>
              <a:gd name="connsiteX117" fmla="*/ 5696583 w 11269336"/>
              <a:gd name="connsiteY117" fmla="*/ 1945050 h 2323145"/>
              <a:gd name="connsiteX118" fmla="*/ 5689123 w 11269336"/>
              <a:gd name="connsiteY118" fmla="*/ 1947067 h 2323145"/>
              <a:gd name="connsiteX119" fmla="*/ 5653291 w 11269336"/>
              <a:gd name="connsiteY119" fmla="*/ 1960245 h 2323145"/>
              <a:gd name="connsiteX120" fmla="*/ 5599385 w 11269336"/>
              <a:gd name="connsiteY120" fmla="*/ 1945198 h 2323145"/>
              <a:gd name="connsiteX121" fmla="*/ 5578300 w 11269336"/>
              <a:gd name="connsiteY121" fmla="*/ 1944963 h 2323145"/>
              <a:gd name="connsiteX122" fmla="*/ 5566758 w 11269336"/>
              <a:gd name="connsiteY122" fmla="*/ 1943441 h 2323145"/>
              <a:gd name="connsiteX123" fmla="*/ 5565857 w 11269336"/>
              <a:gd name="connsiteY123" fmla="*/ 1942445 h 2323145"/>
              <a:gd name="connsiteX124" fmla="*/ 5531534 w 11269336"/>
              <a:gd name="connsiteY124" fmla="*/ 1955208 h 2323145"/>
              <a:gd name="connsiteX125" fmla="*/ 5526552 w 11269336"/>
              <a:gd name="connsiteY125" fmla="*/ 1954799 h 2323145"/>
              <a:gd name="connsiteX126" fmla="*/ 5504723 w 11269336"/>
              <a:gd name="connsiteY126" fmla="*/ 1965811 h 2323145"/>
              <a:gd name="connsiteX127" fmla="*/ 5493156 w 11269336"/>
              <a:gd name="connsiteY127" fmla="*/ 1970063 h 2323145"/>
              <a:gd name="connsiteX128" fmla="*/ 5490486 w 11269336"/>
              <a:gd name="connsiteY128" fmla="*/ 1974227 h 2323145"/>
              <a:gd name="connsiteX129" fmla="*/ 5473107 w 11269336"/>
              <a:gd name="connsiteY129" fmla="*/ 1979001 h 2323145"/>
              <a:gd name="connsiteX130" fmla="*/ 5470885 w 11269336"/>
              <a:gd name="connsiteY130" fmla="*/ 1978432 h 2323145"/>
              <a:gd name="connsiteX131" fmla="*/ 5457393 w 11269336"/>
              <a:gd name="connsiteY131" fmla="*/ 1986525 h 2323145"/>
              <a:gd name="connsiteX132" fmla="*/ 5447102 w 11269336"/>
              <a:gd name="connsiteY132" fmla="*/ 1998329 h 2323145"/>
              <a:gd name="connsiteX133" fmla="*/ 5159151 w 11269336"/>
              <a:gd name="connsiteY133" fmla="*/ 2029640 h 2323145"/>
              <a:gd name="connsiteX134" fmla="*/ 5041688 w 11269336"/>
              <a:gd name="connsiteY134" fmla="*/ 2022334 h 2323145"/>
              <a:gd name="connsiteX135" fmla="*/ 4860988 w 11269336"/>
              <a:gd name="connsiteY135" fmla="*/ 2135698 h 2323145"/>
              <a:gd name="connsiteX136" fmla="*/ 4807902 w 11269336"/>
              <a:gd name="connsiteY136" fmla="*/ 2138894 h 2323145"/>
              <a:gd name="connsiteX137" fmla="*/ 4765388 w 11269336"/>
              <a:gd name="connsiteY137" fmla="*/ 2162525 h 2323145"/>
              <a:gd name="connsiteX138" fmla="*/ 4745033 w 11269336"/>
              <a:gd name="connsiteY138" fmla="*/ 2158859 h 2323145"/>
              <a:gd name="connsiteX139" fmla="*/ 4741475 w 11269336"/>
              <a:gd name="connsiteY139" fmla="*/ 2157998 h 2323145"/>
              <a:gd name="connsiteX140" fmla="*/ 4728247 w 11269336"/>
              <a:gd name="connsiteY140" fmla="*/ 2159526 h 2323145"/>
              <a:gd name="connsiteX141" fmla="*/ 4723263 w 11269336"/>
              <a:gd name="connsiteY141" fmla="*/ 2153742 h 2323145"/>
              <a:gd name="connsiteX142" fmla="*/ 4702453 w 11269336"/>
              <a:gd name="connsiteY142" fmla="*/ 2151586 h 2323145"/>
              <a:gd name="connsiteX143" fmla="*/ 4678455 w 11269336"/>
              <a:gd name="connsiteY143" fmla="*/ 2156131 h 2323145"/>
              <a:gd name="connsiteX144" fmla="*/ 4593061 w 11269336"/>
              <a:gd name="connsiteY144" fmla="*/ 2171597 h 2323145"/>
              <a:gd name="connsiteX145" fmla="*/ 4579902 w 11269336"/>
              <a:gd name="connsiteY145" fmla="*/ 2177927 h 2323145"/>
              <a:gd name="connsiteX146" fmla="*/ 4533444 w 11269336"/>
              <a:gd name="connsiteY146" fmla="*/ 2181200 h 2323145"/>
              <a:gd name="connsiteX147" fmla="*/ 4492832 w 11269336"/>
              <a:gd name="connsiteY147" fmla="*/ 2188033 h 2323145"/>
              <a:gd name="connsiteX148" fmla="*/ 4467257 w 11269336"/>
              <a:gd name="connsiteY148" fmla="*/ 2196121 h 2323145"/>
              <a:gd name="connsiteX149" fmla="*/ 4459937 w 11269336"/>
              <a:gd name="connsiteY149" fmla="*/ 2195182 h 2323145"/>
              <a:gd name="connsiteX150" fmla="*/ 4433312 w 11269336"/>
              <a:gd name="connsiteY150" fmla="*/ 2199004 h 2323145"/>
              <a:gd name="connsiteX151" fmla="*/ 4420601 w 11269336"/>
              <a:gd name="connsiteY151" fmla="*/ 2205158 h 2323145"/>
              <a:gd name="connsiteX152" fmla="*/ 4405765 w 11269336"/>
              <a:gd name="connsiteY152" fmla="*/ 2199902 h 2323145"/>
              <a:gd name="connsiteX153" fmla="*/ 4401354 w 11269336"/>
              <a:gd name="connsiteY153" fmla="*/ 2194745 h 2323145"/>
              <a:gd name="connsiteX154" fmla="*/ 4383151 w 11269336"/>
              <a:gd name="connsiteY154" fmla="*/ 2201140 h 2323145"/>
              <a:gd name="connsiteX155" fmla="*/ 4366646 w 11269336"/>
              <a:gd name="connsiteY155" fmla="*/ 2198564 h 2323145"/>
              <a:gd name="connsiteX156" fmla="*/ 4354009 w 11269336"/>
              <a:gd name="connsiteY156" fmla="*/ 2204984 h 2323145"/>
              <a:gd name="connsiteX157" fmla="*/ 4348284 w 11269336"/>
              <a:gd name="connsiteY157" fmla="*/ 2205270 h 2323145"/>
              <a:gd name="connsiteX158" fmla="*/ 4333906 w 11269336"/>
              <a:gd name="connsiteY158" fmla="*/ 2205251 h 2323145"/>
              <a:gd name="connsiteX159" fmla="*/ 4308819 w 11269336"/>
              <a:gd name="connsiteY159" fmla="*/ 2203822 h 2323145"/>
              <a:gd name="connsiteX160" fmla="*/ 4301210 w 11269336"/>
              <a:gd name="connsiteY160" fmla="*/ 2204456 h 2323145"/>
              <a:gd name="connsiteX161" fmla="*/ 4283095 w 11269336"/>
              <a:gd name="connsiteY161" fmla="*/ 2198177 h 2323145"/>
              <a:gd name="connsiteX162" fmla="*/ 4250119 w 11269336"/>
              <a:gd name="connsiteY162" fmla="*/ 2196342 h 2323145"/>
              <a:gd name="connsiteX163" fmla="*/ 4189203 w 11269336"/>
              <a:gd name="connsiteY163" fmla="*/ 2178994 h 2323145"/>
              <a:gd name="connsiteX164" fmla="*/ 4154035 w 11269336"/>
              <a:gd name="connsiteY164" fmla="*/ 2171950 h 2323145"/>
              <a:gd name="connsiteX165" fmla="*/ 4129569 w 11269336"/>
              <a:gd name="connsiteY165" fmla="*/ 2163850 h 2323145"/>
              <a:gd name="connsiteX166" fmla="*/ 4061250 w 11269336"/>
              <a:gd name="connsiteY166" fmla="*/ 2159236 h 2323145"/>
              <a:gd name="connsiteX167" fmla="*/ 3945480 w 11269336"/>
              <a:gd name="connsiteY167" fmla="*/ 2158279 h 2323145"/>
              <a:gd name="connsiteX168" fmla="*/ 3921468 w 11269336"/>
              <a:gd name="connsiteY168" fmla="*/ 2156588 h 2323145"/>
              <a:gd name="connsiteX169" fmla="*/ 3903348 w 11269336"/>
              <a:gd name="connsiteY169" fmla="*/ 2149220 h 2323145"/>
              <a:gd name="connsiteX170" fmla="*/ 3901342 w 11269336"/>
              <a:gd name="connsiteY170" fmla="*/ 2142355 h 2323145"/>
              <a:gd name="connsiteX171" fmla="*/ 3888539 w 11269336"/>
              <a:gd name="connsiteY171" fmla="*/ 2140476 h 2323145"/>
              <a:gd name="connsiteX172" fmla="*/ 3885662 w 11269336"/>
              <a:gd name="connsiteY172" fmla="*/ 2138740 h 2323145"/>
              <a:gd name="connsiteX173" fmla="*/ 3868627 w 11269336"/>
              <a:gd name="connsiteY173" fmla="*/ 2130023 h 2323145"/>
              <a:gd name="connsiteX174" fmla="*/ 3819177 w 11269336"/>
              <a:gd name="connsiteY174" fmla="*/ 2142111 h 2323145"/>
              <a:gd name="connsiteX175" fmla="*/ 3769100 w 11269336"/>
              <a:gd name="connsiteY175" fmla="*/ 2131731 h 2323145"/>
              <a:gd name="connsiteX176" fmla="*/ 3562752 w 11269336"/>
              <a:gd name="connsiteY176" fmla="*/ 2131785 h 2323145"/>
              <a:gd name="connsiteX177" fmla="*/ 3541402 w 11269336"/>
              <a:gd name="connsiteY177" fmla="*/ 2106821 h 2323145"/>
              <a:gd name="connsiteX178" fmla="*/ 3365341 w 11269336"/>
              <a:gd name="connsiteY178" fmla="*/ 2077638 h 2323145"/>
              <a:gd name="connsiteX179" fmla="*/ 3170922 w 11269336"/>
              <a:gd name="connsiteY179" fmla="*/ 2115957 h 2323145"/>
              <a:gd name="connsiteX180" fmla="*/ 3156256 w 11269336"/>
              <a:gd name="connsiteY180" fmla="*/ 2124773 h 2323145"/>
              <a:gd name="connsiteX181" fmla="*/ 3140298 w 11269336"/>
              <a:gd name="connsiteY181" fmla="*/ 2129182 h 2323145"/>
              <a:gd name="connsiteX182" fmla="*/ 3138514 w 11269336"/>
              <a:gd name="connsiteY182" fmla="*/ 2128069 h 2323145"/>
              <a:gd name="connsiteX183" fmla="*/ 3120467 w 11269336"/>
              <a:gd name="connsiteY183" fmla="*/ 2128281 h 2323145"/>
              <a:gd name="connsiteX184" fmla="*/ 3116175 w 11269336"/>
              <a:gd name="connsiteY184" fmla="*/ 2131633 h 2323145"/>
              <a:gd name="connsiteX185" fmla="*/ 3103685 w 11269336"/>
              <a:gd name="connsiteY185" fmla="*/ 2132814 h 2323145"/>
              <a:gd name="connsiteX186" fmla="*/ 3078794 w 11269336"/>
              <a:gd name="connsiteY186" fmla="*/ 2137935 h 2323145"/>
              <a:gd name="connsiteX187" fmla="*/ 3074407 w 11269336"/>
              <a:gd name="connsiteY187" fmla="*/ 2136274 h 2323145"/>
              <a:gd name="connsiteX188" fmla="*/ 3037285 w 11269336"/>
              <a:gd name="connsiteY188" fmla="*/ 2139919 h 2323145"/>
              <a:gd name="connsiteX189" fmla="*/ 3036901 w 11269336"/>
              <a:gd name="connsiteY189" fmla="*/ 2138726 h 2323145"/>
              <a:gd name="connsiteX190" fmla="*/ 3026996 w 11269336"/>
              <a:gd name="connsiteY190" fmla="*/ 2134322 h 2323145"/>
              <a:gd name="connsiteX191" fmla="*/ 3007772 w 11269336"/>
              <a:gd name="connsiteY191" fmla="*/ 2128742 h 2323145"/>
              <a:gd name="connsiteX192" fmla="*/ 2965030 w 11269336"/>
              <a:gd name="connsiteY192" fmla="*/ 2100494 h 2323145"/>
              <a:gd name="connsiteX193" fmla="*/ 2926342 w 11269336"/>
              <a:gd name="connsiteY193" fmla="*/ 2104155 h 2323145"/>
              <a:gd name="connsiteX194" fmla="*/ 2918608 w 11269336"/>
              <a:gd name="connsiteY194" fmla="*/ 2104215 h 2323145"/>
              <a:gd name="connsiteX195" fmla="*/ 2918475 w 11269336"/>
              <a:gd name="connsiteY195" fmla="*/ 2103937 h 2323145"/>
              <a:gd name="connsiteX196" fmla="*/ 2910360 w 11269336"/>
              <a:gd name="connsiteY196" fmla="*/ 2103444 h 2323145"/>
              <a:gd name="connsiteX197" fmla="*/ 2904507 w 11269336"/>
              <a:gd name="connsiteY197" fmla="*/ 2104326 h 2323145"/>
              <a:gd name="connsiteX198" fmla="*/ 2889503 w 11269336"/>
              <a:gd name="connsiteY198" fmla="*/ 2104443 h 2323145"/>
              <a:gd name="connsiteX199" fmla="*/ 2884480 w 11269336"/>
              <a:gd name="connsiteY199" fmla="*/ 2102626 h 2323145"/>
              <a:gd name="connsiteX200" fmla="*/ 2882689 w 11269336"/>
              <a:gd name="connsiteY200" fmla="*/ 2099228 h 2323145"/>
              <a:gd name="connsiteX201" fmla="*/ 2881291 w 11269336"/>
              <a:gd name="connsiteY201" fmla="*/ 2099618 h 2323145"/>
              <a:gd name="connsiteX202" fmla="*/ 2853979 w 11269336"/>
              <a:gd name="connsiteY202" fmla="*/ 2090388 h 2323145"/>
              <a:gd name="connsiteX203" fmla="*/ 2791790 w 11269336"/>
              <a:gd name="connsiteY203" fmla="*/ 2080332 h 2323145"/>
              <a:gd name="connsiteX204" fmla="*/ 2755844 w 11269336"/>
              <a:gd name="connsiteY204" fmla="*/ 2078874 h 2323145"/>
              <a:gd name="connsiteX205" fmla="*/ 2657742 w 11269336"/>
              <a:gd name="connsiteY205" fmla="*/ 2070179 h 2323145"/>
              <a:gd name="connsiteX206" fmla="*/ 2559549 w 11269336"/>
              <a:gd name="connsiteY206" fmla="*/ 2057873 h 2323145"/>
              <a:gd name="connsiteX207" fmla="*/ 2512054 w 11269336"/>
              <a:gd name="connsiteY207" fmla="*/ 2031671 h 2323145"/>
              <a:gd name="connsiteX208" fmla="*/ 2506437 w 11269336"/>
              <a:gd name="connsiteY208" fmla="*/ 2030918 h 2323145"/>
              <a:gd name="connsiteX209" fmla="*/ 2491752 w 11269336"/>
              <a:gd name="connsiteY209" fmla="*/ 2033906 h 2323145"/>
              <a:gd name="connsiteX210" fmla="*/ 2486338 w 11269336"/>
              <a:gd name="connsiteY210" fmla="*/ 2035862 h 2323145"/>
              <a:gd name="connsiteX211" fmla="*/ 2478186 w 11269336"/>
              <a:gd name="connsiteY211" fmla="*/ 2036953 h 2323145"/>
              <a:gd name="connsiteX212" fmla="*/ 2477950 w 11269336"/>
              <a:gd name="connsiteY212" fmla="*/ 2036715 h 2323145"/>
              <a:gd name="connsiteX213" fmla="*/ 2470381 w 11269336"/>
              <a:gd name="connsiteY213" fmla="*/ 2038256 h 2323145"/>
              <a:gd name="connsiteX214" fmla="*/ 2433781 w 11269336"/>
              <a:gd name="connsiteY214" fmla="*/ 2049140 h 2323145"/>
              <a:gd name="connsiteX215" fmla="*/ 2381172 w 11269336"/>
              <a:gd name="connsiteY215" fmla="*/ 2030645 h 2323145"/>
              <a:gd name="connsiteX216" fmla="*/ 2360198 w 11269336"/>
              <a:gd name="connsiteY216" fmla="*/ 2029059 h 2323145"/>
              <a:gd name="connsiteX217" fmla="*/ 2348815 w 11269336"/>
              <a:gd name="connsiteY217" fmla="*/ 2026798 h 2323145"/>
              <a:gd name="connsiteX218" fmla="*/ 2347988 w 11269336"/>
              <a:gd name="connsiteY218" fmla="*/ 2025745 h 2323145"/>
              <a:gd name="connsiteX219" fmla="*/ 2312920 w 11269336"/>
              <a:gd name="connsiteY219" fmla="*/ 2036311 h 2323145"/>
              <a:gd name="connsiteX220" fmla="*/ 2307986 w 11269336"/>
              <a:gd name="connsiteY220" fmla="*/ 2035583 h 2323145"/>
              <a:gd name="connsiteX221" fmla="*/ 2285481 w 11269336"/>
              <a:gd name="connsiteY221" fmla="*/ 2045197 h 2323145"/>
              <a:gd name="connsiteX222" fmla="*/ 2273666 w 11269336"/>
              <a:gd name="connsiteY222" fmla="*/ 2048710 h 2323145"/>
              <a:gd name="connsiteX223" fmla="*/ 2270719 w 11269336"/>
              <a:gd name="connsiteY223" fmla="*/ 2052702 h 2323145"/>
              <a:gd name="connsiteX224" fmla="*/ 2253080 w 11269336"/>
              <a:gd name="connsiteY224" fmla="*/ 2056363 h 2323145"/>
              <a:gd name="connsiteX225" fmla="*/ 2250906 w 11269336"/>
              <a:gd name="connsiteY225" fmla="*/ 2055654 h 2323145"/>
              <a:gd name="connsiteX226" fmla="*/ 2236905 w 11269336"/>
              <a:gd name="connsiteY226" fmla="*/ 2062882 h 2323145"/>
              <a:gd name="connsiteX227" fmla="*/ 2225830 w 11269336"/>
              <a:gd name="connsiteY227" fmla="*/ 2074027 h 2323145"/>
              <a:gd name="connsiteX228" fmla="*/ 2073776 w 11269336"/>
              <a:gd name="connsiteY228" fmla="*/ 2089244 h 2323145"/>
              <a:gd name="connsiteX229" fmla="*/ 1948256 w 11269336"/>
              <a:gd name="connsiteY229" fmla="*/ 2146616 h 2323145"/>
              <a:gd name="connsiteX230" fmla="*/ 1865582 w 11269336"/>
              <a:gd name="connsiteY230" fmla="*/ 2153738 h 2323145"/>
              <a:gd name="connsiteX231" fmla="*/ 1835210 w 11269336"/>
              <a:gd name="connsiteY231" fmla="*/ 2134244 h 2323145"/>
              <a:gd name="connsiteX232" fmla="*/ 1632661 w 11269336"/>
              <a:gd name="connsiteY232" fmla="*/ 2173882 h 2323145"/>
              <a:gd name="connsiteX233" fmla="*/ 1579590 w 11269336"/>
              <a:gd name="connsiteY233" fmla="*/ 2173680 h 2323145"/>
              <a:gd name="connsiteX234" fmla="*/ 1535601 w 11269336"/>
              <a:gd name="connsiteY234" fmla="*/ 2194590 h 2323145"/>
              <a:gd name="connsiteX235" fmla="*/ 1515594 w 11269336"/>
              <a:gd name="connsiteY235" fmla="*/ 2189622 h 2323145"/>
              <a:gd name="connsiteX236" fmla="*/ 1512113 w 11269336"/>
              <a:gd name="connsiteY236" fmla="*/ 2188534 h 2323145"/>
              <a:gd name="connsiteX237" fmla="*/ 1498838 w 11269336"/>
              <a:gd name="connsiteY237" fmla="*/ 2189213 h 2323145"/>
              <a:gd name="connsiteX238" fmla="*/ 1494279 w 11269336"/>
              <a:gd name="connsiteY238" fmla="*/ 2183112 h 2323145"/>
              <a:gd name="connsiteX239" fmla="*/ 1473714 w 11269336"/>
              <a:gd name="connsiteY239" fmla="*/ 2179625 h 2323145"/>
              <a:gd name="connsiteX240" fmla="*/ 1449503 w 11269336"/>
              <a:gd name="connsiteY240" fmla="*/ 2182633 h 2323145"/>
              <a:gd name="connsiteX241" fmla="*/ 1266687 w 11269336"/>
              <a:gd name="connsiteY241" fmla="*/ 2212688 h 2323145"/>
              <a:gd name="connsiteX242" fmla="*/ 1239614 w 11269336"/>
              <a:gd name="connsiteY242" fmla="*/ 2209727 h 2323145"/>
              <a:gd name="connsiteX243" fmla="*/ 1202436 w 11269336"/>
              <a:gd name="connsiteY243" fmla="*/ 2209817 h 2323145"/>
              <a:gd name="connsiteX244" fmla="*/ 1136097 w 11269336"/>
              <a:gd name="connsiteY244" fmla="*/ 2205112 h 2323145"/>
              <a:gd name="connsiteX245" fmla="*/ 988232 w 11269336"/>
              <a:gd name="connsiteY245" fmla="*/ 2235635 h 2323145"/>
              <a:gd name="connsiteX246" fmla="*/ 981959 w 11269336"/>
              <a:gd name="connsiteY246" fmla="*/ 2231607 h 2323145"/>
              <a:gd name="connsiteX247" fmla="*/ 938600 w 11269336"/>
              <a:gd name="connsiteY247" fmla="*/ 2238113 h 2323145"/>
              <a:gd name="connsiteX248" fmla="*/ 791788 w 11269336"/>
              <a:gd name="connsiteY248" fmla="*/ 2293224 h 2323145"/>
              <a:gd name="connsiteX249" fmla="*/ 706914 w 11269336"/>
              <a:gd name="connsiteY249" fmla="*/ 2305046 h 2323145"/>
              <a:gd name="connsiteX250" fmla="*/ 675971 w 11269336"/>
              <a:gd name="connsiteY250" fmla="*/ 2304030 h 2323145"/>
              <a:gd name="connsiteX251" fmla="*/ 624180 w 11269336"/>
              <a:gd name="connsiteY251" fmla="*/ 2302650 h 2323145"/>
              <a:gd name="connsiteX252" fmla="*/ 583453 w 11269336"/>
              <a:gd name="connsiteY252" fmla="*/ 2288788 h 2323145"/>
              <a:gd name="connsiteX253" fmla="*/ 540946 w 11269336"/>
              <a:gd name="connsiteY253" fmla="*/ 2292721 h 2323145"/>
              <a:gd name="connsiteX254" fmla="*/ 533680 w 11269336"/>
              <a:gd name="connsiteY254" fmla="*/ 2310233 h 2323145"/>
              <a:gd name="connsiteX255" fmla="*/ 487366 w 11269336"/>
              <a:gd name="connsiteY255" fmla="*/ 2309053 h 2323145"/>
              <a:gd name="connsiteX256" fmla="*/ 416820 w 11269336"/>
              <a:gd name="connsiteY256" fmla="*/ 2305443 h 2323145"/>
              <a:gd name="connsiteX257" fmla="*/ 376805 w 11269336"/>
              <a:gd name="connsiteY257" fmla="*/ 2307647 h 2323145"/>
              <a:gd name="connsiteX258" fmla="*/ 266777 w 11269336"/>
              <a:gd name="connsiteY258" fmla="*/ 2309012 h 2323145"/>
              <a:gd name="connsiteX259" fmla="*/ 156013 w 11269336"/>
              <a:gd name="connsiteY259" fmla="*/ 2306832 h 2323145"/>
              <a:gd name="connsiteX260" fmla="*/ 87258 w 11269336"/>
              <a:gd name="connsiteY260" fmla="*/ 2285511 h 2323145"/>
              <a:gd name="connsiteX261" fmla="*/ 23798 w 11269336"/>
              <a:gd name="connsiteY261" fmla="*/ 2281822 h 2323145"/>
              <a:gd name="connsiteX262" fmla="*/ 0 w 11269336"/>
              <a:gd name="connsiteY262" fmla="*/ 2285369 h 2323145"/>
              <a:gd name="connsiteX263" fmla="*/ 0 w 11269336"/>
              <a:gd name="connsiteY263"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263254 w 11269336"/>
              <a:gd name="connsiteY20" fmla="*/ 645662 h 2323145"/>
              <a:gd name="connsiteX21" fmla="*/ 9162278 w 11269336"/>
              <a:gd name="connsiteY21" fmla="*/ 704724 h 2323145"/>
              <a:gd name="connsiteX22" fmla="*/ 9062863 w 11269336"/>
              <a:gd name="connsiteY22" fmla="*/ 754656 h 2323145"/>
              <a:gd name="connsiteX23" fmla="*/ 8914746 w 11269336"/>
              <a:gd name="connsiteY23" fmla="*/ 826428 h 2323145"/>
              <a:gd name="connsiteX24" fmla="*/ 8917778 w 11269336"/>
              <a:gd name="connsiteY24" fmla="*/ 835198 h 2323145"/>
              <a:gd name="connsiteX25" fmla="*/ 8905560 w 11269336"/>
              <a:gd name="connsiteY25" fmla="*/ 838358 h 2323145"/>
              <a:gd name="connsiteX26" fmla="*/ 8897564 w 11269336"/>
              <a:gd name="connsiteY26" fmla="*/ 834287 h 2323145"/>
              <a:gd name="connsiteX27" fmla="*/ 8878040 w 11269336"/>
              <a:gd name="connsiteY27" fmla="*/ 844150 h 2323145"/>
              <a:gd name="connsiteX28" fmla="*/ 8795998 w 11269336"/>
              <a:gd name="connsiteY28" fmla="*/ 863337 h 2323145"/>
              <a:gd name="connsiteX29" fmla="*/ 8776970 w 11269336"/>
              <a:gd name="connsiteY29" fmla="*/ 885177 h 2323145"/>
              <a:gd name="connsiteX30" fmla="*/ 8755719 w 11269336"/>
              <a:gd name="connsiteY30" fmla="*/ 889754 h 2323145"/>
              <a:gd name="connsiteX31" fmla="*/ 8743257 w 11269336"/>
              <a:gd name="connsiteY31" fmla="*/ 904723 h 2323145"/>
              <a:gd name="connsiteX32" fmla="*/ 8721366 w 11269336"/>
              <a:gd name="connsiteY32" fmla="*/ 904711 h 2323145"/>
              <a:gd name="connsiteX33" fmla="*/ 8678353 w 11269336"/>
              <a:gd name="connsiteY33" fmla="*/ 926318 h 2323145"/>
              <a:gd name="connsiteX34" fmla="*/ 8636849 w 11269336"/>
              <a:gd name="connsiteY34" fmla="*/ 937900 h 2323145"/>
              <a:gd name="connsiteX35" fmla="*/ 8620213 w 11269336"/>
              <a:gd name="connsiteY35" fmla="*/ 943068 h 2323145"/>
              <a:gd name="connsiteX36" fmla="*/ 8612581 w 11269336"/>
              <a:gd name="connsiteY36" fmla="*/ 952695 h 2323145"/>
              <a:gd name="connsiteX37" fmla="*/ 8589038 w 11269336"/>
              <a:gd name="connsiteY37" fmla="*/ 963892 h 2323145"/>
              <a:gd name="connsiteX38" fmla="*/ 8579950 w 11269336"/>
              <a:gd name="connsiteY38" fmla="*/ 960899 h 2323145"/>
              <a:gd name="connsiteX39" fmla="*/ 8579319 w 11269336"/>
              <a:gd name="connsiteY39" fmla="*/ 965630 h 2323145"/>
              <a:gd name="connsiteX40" fmla="*/ 8547429 w 11269336"/>
              <a:gd name="connsiteY40" fmla="*/ 984506 h 2323145"/>
              <a:gd name="connsiteX41" fmla="*/ 8478704 w 11269336"/>
              <a:gd name="connsiteY41" fmla="*/ 1025490 h 2323145"/>
              <a:gd name="connsiteX42" fmla="*/ 8461421 w 11269336"/>
              <a:gd name="connsiteY42" fmla="*/ 1035512 h 2323145"/>
              <a:gd name="connsiteX43" fmla="*/ 8445003 w 11269336"/>
              <a:gd name="connsiteY43" fmla="*/ 1036851 h 2323145"/>
              <a:gd name="connsiteX44" fmla="*/ 8357350 w 11269336"/>
              <a:gd name="connsiteY44" fmla="*/ 1060213 h 2323145"/>
              <a:gd name="connsiteX45" fmla="*/ 8335565 w 11269336"/>
              <a:gd name="connsiteY45" fmla="*/ 1061151 h 2323145"/>
              <a:gd name="connsiteX46" fmla="*/ 8325267 w 11269336"/>
              <a:gd name="connsiteY46" fmla="*/ 1055919 h 2323145"/>
              <a:gd name="connsiteX47" fmla="*/ 8293586 w 11269336"/>
              <a:gd name="connsiteY47" fmla="*/ 1076144 h 2323145"/>
              <a:gd name="connsiteX48" fmla="*/ 8242405 w 11269336"/>
              <a:gd name="connsiteY48" fmla="*/ 1095960 h 2323145"/>
              <a:gd name="connsiteX49" fmla="*/ 8197391 w 11269336"/>
              <a:gd name="connsiteY49" fmla="*/ 1107746 h 2323145"/>
              <a:gd name="connsiteX50" fmla="*/ 8081474 w 11269336"/>
              <a:gd name="connsiteY50" fmla="*/ 1130125 h 2323145"/>
              <a:gd name="connsiteX51" fmla="*/ 8053585 w 11269336"/>
              <a:gd name="connsiteY51" fmla="*/ 1129169 h 2323145"/>
              <a:gd name="connsiteX52" fmla="*/ 8038422 w 11269336"/>
              <a:gd name="connsiteY52" fmla="*/ 1119092 h 2323145"/>
              <a:gd name="connsiteX53" fmla="*/ 8029450 w 11269336"/>
              <a:gd name="connsiteY53" fmla="*/ 1125592 h 2323145"/>
              <a:gd name="connsiteX54" fmla="*/ 7959552 w 11269336"/>
              <a:gd name="connsiteY54" fmla="*/ 1140188 h 2323145"/>
              <a:gd name="connsiteX55" fmla="*/ 7914188 w 11269336"/>
              <a:gd name="connsiteY55" fmla="*/ 1150862 h 2323145"/>
              <a:gd name="connsiteX56" fmla="*/ 7914918 w 11269336"/>
              <a:gd name="connsiteY56" fmla="*/ 1168758 h 2323145"/>
              <a:gd name="connsiteX57" fmla="*/ 7875510 w 11269336"/>
              <a:gd name="connsiteY57" fmla="*/ 1183153 h 2323145"/>
              <a:gd name="connsiteX58" fmla="*/ 7829932 w 11269336"/>
              <a:gd name="connsiteY58" fmla="*/ 1180782 h 2323145"/>
              <a:gd name="connsiteX59" fmla="*/ 7779182 w 11269336"/>
              <a:gd name="connsiteY59" fmla="*/ 1192665 h 2323145"/>
              <a:gd name="connsiteX60" fmla="*/ 7748774 w 11269336"/>
              <a:gd name="connsiteY60" fmla="*/ 1199586 h 2323145"/>
              <a:gd name="connsiteX61" fmla="*/ 7671846 w 11269336"/>
              <a:gd name="connsiteY61" fmla="*/ 1231966 h 2323145"/>
              <a:gd name="connsiteX62" fmla="*/ 7554146 w 11269336"/>
              <a:gd name="connsiteY62" fmla="*/ 1319748 h 2323145"/>
              <a:gd name="connsiteX63" fmla="*/ 7515052 w 11269336"/>
              <a:gd name="connsiteY63" fmla="*/ 1336718 h 2323145"/>
              <a:gd name="connsiteX64" fmla="*/ 7507193 w 11269336"/>
              <a:gd name="connsiteY64" fmla="*/ 1334617 h 2323145"/>
              <a:gd name="connsiteX65" fmla="*/ 7461694 w 11269336"/>
              <a:gd name="connsiteY65" fmla="*/ 1375866 h 2323145"/>
              <a:gd name="connsiteX66" fmla="*/ 7377571 w 11269336"/>
              <a:gd name="connsiteY66" fmla="*/ 1400128 h 2323145"/>
              <a:gd name="connsiteX67" fmla="*/ 7311261 w 11269336"/>
              <a:gd name="connsiteY67" fmla="*/ 1412652 h 2323145"/>
              <a:gd name="connsiteX68" fmla="*/ 7275307 w 11269336"/>
              <a:gd name="connsiteY68" fmla="*/ 1422171 h 2323145"/>
              <a:gd name="connsiteX69" fmla="*/ 7247783 w 11269336"/>
              <a:gd name="connsiteY69" fmla="*/ 1426330 h 2323145"/>
              <a:gd name="connsiteX70" fmla="*/ 7185047 w 11269336"/>
              <a:gd name="connsiteY70" fmla="*/ 1451812 h 2323145"/>
              <a:gd name="connsiteX71" fmla="*/ 7084117 w 11269336"/>
              <a:gd name="connsiteY71" fmla="*/ 1500281 h 2323145"/>
              <a:gd name="connsiteX72" fmla="*/ 7062011 w 11269336"/>
              <a:gd name="connsiteY72" fmla="*/ 1509183 h 2323145"/>
              <a:gd name="connsiteX73" fmla="*/ 7040555 w 11269336"/>
              <a:gd name="connsiteY73" fmla="*/ 1511207 h 2323145"/>
              <a:gd name="connsiteX74" fmla="*/ 7033438 w 11269336"/>
              <a:gd name="connsiteY74" fmla="*/ 1506772 h 2323145"/>
              <a:gd name="connsiteX75" fmla="*/ 7020886 w 11269336"/>
              <a:gd name="connsiteY75" fmla="*/ 1510764 h 2323145"/>
              <a:gd name="connsiteX76" fmla="*/ 7017033 w 11269336"/>
              <a:gd name="connsiteY76" fmla="*/ 1510650 h 2323145"/>
              <a:gd name="connsiteX77" fmla="*/ 6995460 w 11269336"/>
              <a:gd name="connsiteY77" fmla="*/ 1511173 h 2323145"/>
              <a:gd name="connsiteX78" fmla="*/ 6962144 w 11269336"/>
              <a:gd name="connsiteY78" fmla="*/ 1541508 h 2323145"/>
              <a:gd name="connsiteX79" fmla="*/ 6910674 w 11269336"/>
              <a:gd name="connsiteY79" fmla="*/ 1554793 h 2323145"/>
              <a:gd name="connsiteX80" fmla="*/ 6732152 w 11269336"/>
              <a:gd name="connsiteY80" fmla="*/ 1642538 h 2323145"/>
              <a:gd name="connsiteX81" fmla="*/ 6694106 w 11269336"/>
              <a:gd name="connsiteY81" fmla="*/ 1632377 h 2323145"/>
              <a:gd name="connsiteX82" fmla="*/ 6617223 w 11269336"/>
              <a:gd name="connsiteY82" fmla="*/ 1659889 h 2323145"/>
              <a:gd name="connsiteX83" fmla="*/ 6521138 w 11269336"/>
              <a:gd name="connsiteY83" fmla="*/ 1744340 h 2323145"/>
              <a:gd name="connsiteX84" fmla="*/ 6380677 w 11269336"/>
              <a:gd name="connsiteY84" fmla="*/ 1796883 h 2323145"/>
              <a:gd name="connsiteX85" fmla="*/ 6374897 w 11269336"/>
              <a:gd name="connsiteY85" fmla="*/ 1809910 h 2323145"/>
              <a:gd name="connsiteX86" fmla="*/ 6364545 w 11269336"/>
              <a:gd name="connsiteY86" fmla="*/ 1820090 h 2323145"/>
              <a:gd name="connsiteX87" fmla="*/ 6362126 w 11269336"/>
              <a:gd name="connsiteY87" fmla="*/ 1819991 h 2323145"/>
              <a:gd name="connsiteX88" fmla="*/ 6346673 w 11269336"/>
              <a:gd name="connsiteY88" fmla="*/ 1827824 h 2323145"/>
              <a:gd name="connsiteX89" fmla="*/ 6345588 w 11269336"/>
              <a:gd name="connsiteY89" fmla="*/ 1832232 h 2323145"/>
              <a:gd name="connsiteX90" fmla="*/ 6335708 w 11269336"/>
              <a:gd name="connsiteY90" fmla="*/ 1838451 h 2323145"/>
              <a:gd name="connsiteX91" fmla="*/ 6318182 w 11269336"/>
              <a:gd name="connsiteY91" fmla="*/ 1852975 h 2323145"/>
              <a:gd name="connsiteX92" fmla="*/ 6313084 w 11269336"/>
              <a:gd name="connsiteY92" fmla="*/ 1853561 h 2323145"/>
              <a:gd name="connsiteX93" fmla="*/ 6283816 w 11269336"/>
              <a:gd name="connsiteY93" fmla="*/ 1872148 h 2323145"/>
              <a:gd name="connsiteX94" fmla="*/ 6282550 w 11269336"/>
              <a:gd name="connsiteY94" fmla="*/ 1871392 h 2323145"/>
              <a:gd name="connsiteX95" fmla="*/ 6270527 w 11269336"/>
              <a:gd name="connsiteY95" fmla="*/ 1872208 h 2323145"/>
              <a:gd name="connsiteX96" fmla="*/ 6249518 w 11269336"/>
              <a:gd name="connsiteY96" fmla="*/ 1876079 h 2323145"/>
              <a:gd name="connsiteX97" fmla="*/ 6190386 w 11269336"/>
              <a:gd name="connsiteY97" fmla="*/ 1872478 h 2323145"/>
              <a:gd name="connsiteX98" fmla="*/ 6159777 w 11269336"/>
              <a:gd name="connsiteY98" fmla="*/ 1891745 h 2323145"/>
              <a:gd name="connsiteX99" fmla="*/ 6153131 w 11269336"/>
              <a:gd name="connsiteY99" fmla="*/ 1895079 h 2323145"/>
              <a:gd name="connsiteX100" fmla="*/ 6152798 w 11269336"/>
              <a:gd name="connsiteY100" fmla="*/ 1894920 h 2323145"/>
              <a:gd name="connsiteX101" fmla="*/ 6145388 w 11269336"/>
              <a:gd name="connsiteY101" fmla="*/ 1897990 h 2323145"/>
              <a:gd name="connsiteX102" fmla="*/ 6141014 w 11269336"/>
              <a:gd name="connsiteY102" fmla="*/ 1901155 h 2323145"/>
              <a:gd name="connsiteX103" fmla="*/ 6128122 w 11269336"/>
              <a:gd name="connsiteY103" fmla="*/ 1907623 h 2323145"/>
              <a:gd name="connsiteX104" fmla="*/ 6122351 w 11269336"/>
              <a:gd name="connsiteY104" fmla="*/ 1908359 h 2323145"/>
              <a:gd name="connsiteX105" fmla="*/ 6064750 w 11269336"/>
              <a:gd name="connsiteY105" fmla="*/ 1896394 h 2323145"/>
              <a:gd name="connsiteX106" fmla="*/ 5964230 w 11269336"/>
              <a:gd name="connsiteY106" fmla="*/ 1910038 h 2323145"/>
              <a:gd name="connsiteX107" fmla="*/ 5865399 w 11269336"/>
              <a:gd name="connsiteY107" fmla="*/ 1926966 h 2323145"/>
              <a:gd name="connsiteX108" fmla="*/ 5829951 w 11269336"/>
              <a:gd name="connsiteY108" fmla="*/ 1934755 h 2323145"/>
              <a:gd name="connsiteX109" fmla="*/ 5765285 w 11269336"/>
              <a:gd name="connsiteY109" fmla="*/ 1941322 h 2323145"/>
              <a:gd name="connsiteX110" fmla="*/ 5734750 w 11269336"/>
              <a:gd name="connsiteY110" fmla="*/ 1939793 h 2323145"/>
              <a:gd name="connsiteX111" fmla="*/ 5733569 w 11269336"/>
              <a:gd name="connsiteY111" fmla="*/ 1940505 h 2323145"/>
              <a:gd name="connsiteX112" fmla="*/ 5730329 w 11269336"/>
              <a:gd name="connsiteY112" fmla="*/ 1937845 h 2323145"/>
              <a:gd name="connsiteX113" fmla="*/ 5724661 w 11269336"/>
              <a:gd name="connsiteY113" fmla="*/ 1937455 h 2323145"/>
              <a:gd name="connsiteX114" fmla="*/ 5710186 w 11269336"/>
              <a:gd name="connsiteY114" fmla="*/ 1941370 h 2323145"/>
              <a:gd name="connsiteX115" fmla="*/ 5704910 w 11269336"/>
              <a:gd name="connsiteY115" fmla="*/ 1943663 h 2323145"/>
              <a:gd name="connsiteX116" fmla="*/ 5696836 w 11269336"/>
              <a:gd name="connsiteY116" fmla="*/ 1945271 h 2323145"/>
              <a:gd name="connsiteX117" fmla="*/ 5696583 w 11269336"/>
              <a:gd name="connsiteY117" fmla="*/ 1945050 h 2323145"/>
              <a:gd name="connsiteX118" fmla="*/ 5689123 w 11269336"/>
              <a:gd name="connsiteY118" fmla="*/ 1947067 h 2323145"/>
              <a:gd name="connsiteX119" fmla="*/ 5653291 w 11269336"/>
              <a:gd name="connsiteY119" fmla="*/ 1960245 h 2323145"/>
              <a:gd name="connsiteX120" fmla="*/ 5599385 w 11269336"/>
              <a:gd name="connsiteY120" fmla="*/ 1945198 h 2323145"/>
              <a:gd name="connsiteX121" fmla="*/ 5578300 w 11269336"/>
              <a:gd name="connsiteY121" fmla="*/ 1944963 h 2323145"/>
              <a:gd name="connsiteX122" fmla="*/ 5566758 w 11269336"/>
              <a:gd name="connsiteY122" fmla="*/ 1943441 h 2323145"/>
              <a:gd name="connsiteX123" fmla="*/ 5565857 w 11269336"/>
              <a:gd name="connsiteY123" fmla="*/ 1942445 h 2323145"/>
              <a:gd name="connsiteX124" fmla="*/ 5531534 w 11269336"/>
              <a:gd name="connsiteY124" fmla="*/ 1955208 h 2323145"/>
              <a:gd name="connsiteX125" fmla="*/ 5526552 w 11269336"/>
              <a:gd name="connsiteY125" fmla="*/ 1954799 h 2323145"/>
              <a:gd name="connsiteX126" fmla="*/ 5504723 w 11269336"/>
              <a:gd name="connsiteY126" fmla="*/ 1965811 h 2323145"/>
              <a:gd name="connsiteX127" fmla="*/ 5493156 w 11269336"/>
              <a:gd name="connsiteY127" fmla="*/ 1970063 h 2323145"/>
              <a:gd name="connsiteX128" fmla="*/ 5490486 w 11269336"/>
              <a:gd name="connsiteY128" fmla="*/ 1974227 h 2323145"/>
              <a:gd name="connsiteX129" fmla="*/ 5473107 w 11269336"/>
              <a:gd name="connsiteY129" fmla="*/ 1979001 h 2323145"/>
              <a:gd name="connsiteX130" fmla="*/ 5470885 w 11269336"/>
              <a:gd name="connsiteY130" fmla="*/ 1978432 h 2323145"/>
              <a:gd name="connsiteX131" fmla="*/ 5457393 w 11269336"/>
              <a:gd name="connsiteY131" fmla="*/ 1986525 h 2323145"/>
              <a:gd name="connsiteX132" fmla="*/ 5447102 w 11269336"/>
              <a:gd name="connsiteY132" fmla="*/ 1998329 h 2323145"/>
              <a:gd name="connsiteX133" fmla="*/ 5159151 w 11269336"/>
              <a:gd name="connsiteY133" fmla="*/ 2029640 h 2323145"/>
              <a:gd name="connsiteX134" fmla="*/ 5041688 w 11269336"/>
              <a:gd name="connsiteY134" fmla="*/ 2022334 h 2323145"/>
              <a:gd name="connsiteX135" fmla="*/ 4860988 w 11269336"/>
              <a:gd name="connsiteY135" fmla="*/ 2135698 h 2323145"/>
              <a:gd name="connsiteX136" fmla="*/ 4807902 w 11269336"/>
              <a:gd name="connsiteY136" fmla="*/ 2138894 h 2323145"/>
              <a:gd name="connsiteX137" fmla="*/ 4765388 w 11269336"/>
              <a:gd name="connsiteY137" fmla="*/ 2162525 h 2323145"/>
              <a:gd name="connsiteX138" fmla="*/ 4745033 w 11269336"/>
              <a:gd name="connsiteY138" fmla="*/ 2158859 h 2323145"/>
              <a:gd name="connsiteX139" fmla="*/ 4741475 w 11269336"/>
              <a:gd name="connsiteY139" fmla="*/ 2157998 h 2323145"/>
              <a:gd name="connsiteX140" fmla="*/ 4728247 w 11269336"/>
              <a:gd name="connsiteY140" fmla="*/ 2159526 h 2323145"/>
              <a:gd name="connsiteX141" fmla="*/ 4723263 w 11269336"/>
              <a:gd name="connsiteY141" fmla="*/ 2153742 h 2323145"/>
              <a:gd name="connsiteX142" fmla="*/ 4702453 w 11269336"/>
              <a:gd name="connsiteY142" fmla="*/ 2151586 h 2323145"/>
              <a:gd name="connsiteX143" fmla="*/ 4678455 w 11269336"/>
              <a:gd name="connsiteY143" fmla="*/ 2156131 h 2323145"/>
              <a:gd name="connsiteX144" fmla="*/ 4593061 w 11269336"/>
              <a:gd name="connsiteY144" fmla="*/ 2171597 h 2323145"/>
              <a:gd name="connsiteX145" fmla="*/ 4579902 w 11269336"/>
              <a:gd name="connsiteY145" fmla="*/ 2177927 h 2323145"/>
              <a:gd name="connsiteX146" fmla="*/ 4533444 w 11269336"/>
              <a:gd name="connsiteY146" fmla="*/ 2181200 h 2323145"/>
              <a:gd name="connsiteX147" fmla="*/ 4492832 w 11269336"/>
              <a:gd name="connsiteY147" fmla="*/ 2188033 h 2323145"/>
              <a:gd name="connsiteX148" fmla="*/ 4467257 w 11269336"/>
              <a:gd name="connsiteY148" fmla="*/ 2196121 h 2323145"/>
              <a:gd name="connsiteX149" fmla="*/ 4459937 w 11269336"/>
              <a:gd name="connsiteY149" fmla="*/ 2195182 h 2323145"/>
              <a:gd name="connsiteX150" fmla="*/ 4433312 w 11269336"/>
              <a:gd name="connsiteY150" fmla="*/ 2199004 h 2323145"/>
              <a:gd name="connsiteX151" fmla="*/ 4420601 w 11269336"/>
              <a:gd name="connsiteY151" fmla="*/ 2205158 h 2323145"/>
              <a:gd name="connsiteX152" fmla="*/ 4405765 w 11269336"/>
              <a:gd name="connsiteY152" fmla="*/ 2199902 h 2323145"/>
              <a:gd name="connsiteX153" fmla="*/ 4401354 w 11269336"/>
              <a:gd name="connsiteY153" fmla="*/ 2194745 h 2323145"/>
              <a:gd name="connsiteX154" fmla="*/ 4383151 w 11269336"/>
              <a:gd name="connsiteY154" fmla="*/ 2201140 h 2323145"/>
              <a:gd name="connsiteX155" fmla="*/ 4366646 w 11269336"/>
              <a:gd name="connsiteY155" fmla="*/ 2198564 h 2323145"/>
              <a:gd name="connsiteX156" fmla="*/ 4354009 w 11269336"/>
              <a:gd name="connsiteY156" fmla="*/ 2204984 h 2323145"/>
              <a:gd name="connsiteX157" fmla="*/ 4348284 w 11269336"/>
              <a:gd name="connsiteY157" fmla="*/ 2205270 h 2323145"/>
              <a:gd name="connsiteX158" fmla="*/ 4333906 w 11269336"/>
              <a:gd name="connsiteY158" fmla="*/ 2205251 h 2323145"/>
              <a:gd name="connsiteX159" fmla="*/ 4308819 w 11269336"/>
              <a:gd name="connsiteY159" fmla="*/ 2203822 h 2323145"/>
              <a:gd name="connsiteX160" fmla="*/ 4301210 w 11269336"/>
              <a:gd name="connsiteY160" fmla="*/ 2204456 h 2323145"/>
              <a:gd name="connsiteX161" fmla="*/ 4283095 w 11269336"/>
              <a:gd name="connsiteY161" fmla="*/ 2198177 h 2323145"/>
              <a:gd name="connsiteX162" fmla="*/ 4250119 w 11269336"/>
              <a:gd name="connsiteY162" fmla="*/ 2196342 h 2323145"/>
              <a:gd name="connsiteX163" fmla="*/ 4189203 w 11269336"/>
              <a:gd name="connsiteY163" fmla="*/ 2178994 h 2323145"/>
              <a:gd name="connsiteX164" fmla="*/ 4154035 w 11269336"/>
              <a:gd name="connsiteY164" fmla="*/ 2171950 h 2323145"/>
              <a:gd name="connsiteX165" fmla="*/ 4129569 w 11269336"/>
              <a:gd name="connsiteY165" fmla="*/ 2163850 h 2323145"/>
              <a:gd name="connsiteX166" fmla="*/ 4061250 w 11269336"/>
              <a:gd name="connsiteY166" fmla="*/ 2159236 h 2323145"/>
              <a:gd name="connsiteX167" fmla="*/ 3945480 w 11269336"/>
              <a:gd name="connsiteY167" fmla="*/ 2158279 h 2323145"/>
              <a:gd name="connsiteX168" fmla="*/ 3921468 w 11269336"/>
              <a:gd name="connsiteY168" fmla="*/ 2156588 h 2323145"/>
              <a:gd name="connsiteX169" fmla="*/ 3903348 w 11269336"/>
              <a:gd name="connsiteY169" fmla="*/ 2149220 h 2323145"/>
              <a:gd name="connsiteX170" fmla="*/ 3901342 w 11269336"/>
              <a:gd name="connsiteY170" fmla="*/ 2142355 h 2323145"/>
              <a:gd name="connsiteX171" fmla="*/ 3888539 w 11269336"/>
              <a:gd name="connsiteY171" fmla="*/ 2140476 h 2323145"/>
              <a:gd name="connsiteX172" fmla="*/ 3885662 w 11269336"/>
              <a:gd name="connsiteY172" fmla="*/ 2138740 h 2323145"/>
              <a:gd name="connsiteX173" fmla="*/ 3868627 w 11269336"/>
              <a:gd name="connsiteY173" fmla="*/ 2130023 h 2323145"/>
              <a:gd name="connsiteX174" fmla="*/ 3819177 w 11269336"/>
              <a:gd name="connsiteY174" fmla="*/ 2142111 h 2323145"/>
              <a:gd name="connsiteX175" fmla="*/ 3769100 w 11269336"/>
              <a:gd name="connsiteY175" fmla="*/ 2131731 h 2323145"/>
              <a:gd name="connsiteX176" fmla="*/ 3562752 w 11269336"/>
              <a:gd name="connsiteY176" fmla="*/ 2131785 h 2323145"/>
              <a:gd name="connsiteX177" fmla="*/ 3541402 w 11269336"/>
              <a:gd name="connsiteY177" fmla="*/ 2106821 h 2323145"/>
              <a:gd name="connsiteX178" fmla="*/ 3365341 w 11269336"/>
              <a:gd name="connsiteY178" fmla="*/ 2077638 h 2323145"/>
              <a:gd name="connsiteX179" fmla="*/ 3170922 w 11269336"/>
              <a:gd name="connsiteY179" fmla="*/ 2115957 h 2323145"/>
              <a:gd name="connsiteX180" fmla="*/ 3156256 w 11269336"/>
              <a:gd name="connsiteY180" fmla="*/ 2124773 h 2323145"/>
              <a:gd name="connsiteX181" fmla="*/ 3140298 w 11269336"/>
              <a:gd name="connsiteY181" fmla="*/ 2129182 h 2323145"/>
              <a:gd name="connsiteX182" fmla="*/ 3138514 w 11269336"/>
              <a:gd name="connsiteY182" fmla="*/ 2128069 h 2323145"/>
              <a:gd name="connsiteX183" fmla="*/ 3120467 w 11269336"/>
              <a:gd name="connsiteY183" fmla="*/ 2128281 h 2323145"/>
              <a:gd name="connsiteX184" fmla="*/ 3116175 w 11269336"/>
              <a:gd name="connsiteY184" fmla="*/ 2131633 h 2323145"/>
              <a:gd name="connsiteX185" fmla="*/ 3103685 w 11269336"/>
              <a:gd name="connsiteY185" fmla="*/ 2132814 h 2323145"/>
              <a:gd name="connsiteX186" fmla="*/ 3078794 w 11269336"/>
              <a:gd name="connsiteY186" fmla="*/ 2137935 h 2323145"/>
              <a:gd name="connsiteX187" fmla="*/ 3074407 w 11269336"/>
              <a:gd name="connsiteY187" fmla="*/ 2136274 h 2323145"/>
              <a:gd name="connsiteX188" fmla="*/ 3037285 w 11269336"/>
              <a:gd name="connsiteY188" fmla="*/ 2139919 h 2323145"/>
              <a:gd name="connsiteX189" fmla="*/ 3036901 w 11269336"/>
              <a:gd name="connsiteY189" fmla="*/ 2138726 h 2323145"/>
              <a:gd name="connsiteX190" fmla="*/ 3026996 w 11269336"/>
              <a:gd name="connsiteY190" fmla="*/ 2134322 h 2323145"/>
              <a:gd name="connsiteX191" fmla="*/ 3007772 w 11269336"/>
              <a:gd name="connsiteY191" fmla="*/ 2128742 h 2323145"/>
              <a:gd name="connsiteX192" fmla="*/ 2965030 w 11269336"/>
              <a:gd name="connsiteY192" fmla="*/ 2100494 h 2323145"/>
              <a:gd name="connsiteX193" fmla="*/ 2926342 w 11269336"/>
              <a:gd name="connsiteY193" fmla="*/ 2104155 h 2323145"/>
              <a:gd name="connsiteX194" fmla="*/ 2918608 w 11269336"/>
              <a:gd name="connsiteY194" fmla="*/ 2104215 h 2323145"/>
              <a:gd name="connsiteX195" fmla="*/ 2918475 w 11269336"/>
              <a:gd name="connsiteY195" fmla="*/ 2103937 h 2323145"/>
              <a:gd name="connsiteX196" fmla="*/ 2910360 w 11269336"/>
              <a:gd name="connsiteY196" fmla="*/ 2103444 h 2323145"/>
              <a:gd name="connsiteX197" fmla="*/ 2904507 w 11269336"/>
              <a:gd name="connsiteY197" fmla="*/ 2104326 h 2323145"/>
              <a:gd name="connsiteX198" fmla="*/ 2889503 w 11269336"/>
              <a:gd name="connsiteY198" fmla="*/ 2104443 h 2323145"/>
              <a:gd name="connsiteX199" fmla="*/ 2884480 w 11269336"/>
              <a:gd name="connsiteY199" fmla="*/ 2102626 h 2323145"/>
              <a:gd name="connsiteX200" fmla="*/ 2882689 w 11269336"/>
              <a:gd name="connsiteY200" fmla="*/ 2099228 h 2323145"/>
              <a:gd name="connsiteX201" fmla="*/ 2881291 w 11269336"/>
              <a:gd name="connsiteY201" fmla="*/ 2099618 h 2323145"/>
              <a:gd name="connsiteX202" fmla="*/ 2853979 w 11269336"/>
              <a:gd name="connsiteY202" fmla="*/ 2090388 h 2323145"/>
              <a:gd name="connsiteX203" fmla="*/ 2791790 w 11269336"/>
              <a:gd name="connsiteY203" fmla="*/ 2080332 h 2323145"/>
              <a:gd name="connsiteX204" fmla="*/ 2755844 w 11269336"/>
              <a:gd name="connsiteY204" fmla="*/ 2078874 h 2323145"/>
              <a:gd name="connsiteX205" fmla="*/ 2657742 w 11269336"/>
              <a:gd name="connsiteY205" fmla="*/ 2070179 h 2323145"/>
              <a:gd name="connsiteX206" fmla="*/ 2559549 w 11269336"/>
              <a:gd name="connsiteY206" fmla="*/ 2057873 h 2323145"/>
              <a:gd name="connsiteX207" fmla="*/ 2512054 w 11269336"/>
              <a:gd name="connsiteY207" fmla="*/ 2031671 h 2323145"/>
              <a:gd name="connsiteX208" fmla="*/ 2506437 w 11269336"/>
              <a:gd name="connsiteY208" fmla="*/ 2030918 h 2323145"/>
              <a:gd name="connsiteX209" fmla="*/ 2491752 w 11269336"/>
              <a:gd name="connsiteY209" fmla="*/ 2033906 h 2323145"/>
              <a:gd name="connsiteX210" fmla="*/ 2486338 w 11269336"/>
              <a:gd name="connsiteY210" fmla="*/ 2035862 h 2323145"/>
              <a:gd name="connsiteX211" fmla="*/ 2478186 w 11269336"/>
              <a:gd name="connsiteY211" fmla="*/ 2036953 h 2323145"/>
              <a:gd name="connsiteX212" fmla="*/ 2477950 w 11269336"/>
              <a:gd name="connsiteY212" fmla="*/ 2036715 h 2323145"/>
              <a:gd name="connsiteX213" fmla="*/ 2470381 w 11269336"/>
              <a:gd name="connsiteY213" fmla="*/ 2038256 h 2323145"/>
              <a:gd name="connsiteX214" fmla="*/ 2433781 w 11269336"/>
              <a:gd name="connsiteY214" fmla="*/ 2049140 h 2323145"/>
              <a:gd name="connsiteX215" fmla="*/ 2381172 w 11269336"/>
              <a:gd name="connsiteY215" fmla="*/ 2030645 h 2323145"/>
              <a:gd name="connsiteX216" fmla="*/ 2360198 w 11269336"/>
              <a:gd name="connsiteY216" fmla="*/ 2029059 h 2323145"/>
              <a:gd name="connsiteX217" fmla="*/ 2348815 w 11269336"/>
              <a:gd name="connsiteY217" fmla="*/ 2026798 h 2323145"/>
              <a:gd name="connsiteX218" fmla="*/ 2347988 w 11269336"/>
              <a:gd name="connsiteY218" fmla="*/ 2025745 h 2323145"/>
              <a:gd name="connsiteX219" fmla="*/ 2312920 w 11269336"/>
              <a:gd name="connsiteY219" fmla="*/ 2036311 h 2323145"/>
              <a:gd name="connsiteX220" fmla="*/ 2307986 w 11269336"/>
              <a:gd name="connsiteY220" fmla="*/ 2035583 h 2323145"/>
              <a:gd name="connsiteX221" fmla="*/ 2285481 w 11269336"/>
              <a:gd name="connsiteY221" fmla="*/ 2045197 h 2323145"/>
              <a:gd name="connsiteX222" fmla="*/ 2273666 w 11269336"/>
              <a:gd name="connsiteY222" fmla="*/ 2048710 h 2323145"/>
              <a:gd name="connsiteX223" fmla="*/ 2270719 w 11269336"/>
              <a:gd name="connsiteY223" fmla="*/ 2052702 h 2323145"/>
              <a:gd name="connsiteX224" fmla="*/ 2253080 w 11269336"/>
              <a:gd name="connsiteY224" fmla="*/ 2056363 h 2323145"/>
              <a:gd name="connsiteX225" fmla="*/ 2250906 w 11269336"/>
              <a:gd name="connsiteY225" fmla="*/ 2055654 h 2323145"/>
              <a:gd name="connsiteX226" fmla="*/ 2236905 w 11269336"/>
              <a:gd name="connsiteY226" fmla="*/ 2062882 h 2323145"/>
              <a:gd name="connsiteX227" fmla="*/ 2225830 w 11269336"/>
              <a:gd name="connsiteY227" fmla="*/ 2074027 h 2323145"/>
              <a:gd name="connsiteX228" fmla="*/ 2073776 w 11269336"/>
              <a:gd name="connsiteY228" fmla="*/ 2089244 h 2323145"/>
              <a:gd name="connsiteX229" fmla="*/ 1948256 w 11269336"/>
              <a:gd name="connsiteY229" fmla="*/ 2146616 h 2323145"/>
              <a:gd name="connsiteX230" fmla="*/ 1865582 w 11269336"/>
              <a:gd name="connsiteY230" fmla="*/ 2153738 h 2323145"/>
              <a:gd name="connsiteX231" fmla="*/ 1835210 w 11269336"/>
              <a:gd name="connsiteY231" fmla="*/ 2134244 h 2323145"/>
              <a:gd name="connsiteX232" fmla="*/ 1632661 w 11269336"/>
              <a:gd name="connsiteY232" fmla="*/ 2173882 h 2323145"/>
              <a:gd name="connsiteX233" fmla="*/ 1579590 w 11269336"/>
              <a:gd name="connsiteY233" fmla="*/ 2173680 h 2323145"/>
              <a:gd name="connsiteX234" fmla="*/ 1535601 w 11269336"/>
              <a:gd name="connsiteY234" fmla="*/ 2194590 h 2323145"/>
              <a:gd name="connsiteX235" fmla="*/ 1515594 w 11269336"/>
              <a:gd name="connsiteY235" fmla="*/ 2189622 h 2323145"/>
              <a:gd name="connsiteX236" fmla="*/ 1512113 w 11269336"/>
              <a:gd name="connsiteY236" fmla="*/ 2188534 h 2323145"/>
              <a:gd name="connsiteX237" fmla="*/ 1498838 w 11269336"/>
              <a:gd name="connsiteY237" fmla="*/ 2189213 h 2323145"/>
              <a:gd name="connsiteX238" fmla="*/ 1494279 w 11269336"/>
              <a:gd name="connsiteY238" fmla="*/ 2183112 h 2323145"/>
              <a:gd name="connsiteX239" fmla="*/ 1473714 w 11269336"/>
              <a:gd name="connsiteY239" fmla="*/ 2179625 h 2323145"/>
              <a:gd name="connsiteX240" fmla="*/ 1449503 w 11269336"/>
              <a:gd name="connsiteY240" fmla="*/ 2182633 h 2323145"/>
              <a:gd name="connsiteX241" fmla="*/ 1266687 w 11269336"/>
              <a:gd name="connsiteY241" fmla="*/ 2212688 h 2323145"/>
              <a:gd name="connsiteX242" fmla="*/ 1239614 w 11269336"/>
              <a:gd name="connsiteY242" fmla="*/ 2209727 h 2323145"/>
              <a:gd name="connsiteX243" fmla="*/ 1202436 w 11269336"/>
              <a:gd name="connsiteY243" fmla="*/ 2209817 h 2323145"/>
              <a:gd name="connsiteX244" fmla="*/ 1136097 w 11269336"/>
              <a:gd name="connsiteY244" fmla="*/ 2205112 h 2323145"/>
              <a:gd name="connsiteX245" fmla="*/ 988232 w 11269336"/>
              <a:gd name="connsiteY245" fmla="*/ 2235635 h 2323145"/>
              <a:gd name="connsiteX246" fmla="*/ 981959 w 11269336"/>
              <a:gd name="connsiteY246" fmla="*/ 2231607 h 2323145"/>
              <a:gd name="connsiteX247" fmla="*/ 938600 w 11269336"/>
              <a:gd name="connsiteY247" fmla="*/ 2238113 h 2323145"/>
              <a:gd name="connsiteX248" fmla="*/ 791788 w 11269336"/>
              <a:gd name="connsiteY248" fmla="*/ 2293224 h 2323145"/>
              <a:gd name="connsiteX249" fmla="*/ 706914 w 11269336"/>
              <a:gd name="connsiteY249" fmla="*/ 2305046 h 2323145"/>
              <a:gd name="connsiteX250" fmla="*/ 675971 w 11269336"/>
              <a:gd name="connsiteY250" fmla="*/ 2304030 h 2323145"/>
              <a:gd name="connsiteX251" fmla="*/ 624180 w 11269336"/>
              <a:gd name="connsiteY251" fmla="*/ 2302650 h 2323145"/>
              <a:gd name="connsiteX252" fmla="*/ 583453 w 11269336"/>
              <a:gd name="connsiteY252" fmla="*/ 2288788 h 2323145"/>
              <a:gd name="connsiteX253" fmla="*/ 540946 w 11269336"/>
              <a:gd name="connsiteY253" fmla="*/ 2292721 h 2323145"/>
              <a:gd name="connsiteX254" fmla="*/ 533680 w 11269336"/>
              <a:gd name="connsiteY254" fmla="*/ 2310233 h 2323145"/>
              <a:gd name="connsiteX255" fmla="*/ 487366 w 11269336"/>
              <a:gd name="connsiteY255" fmla="*/ 2309053 h 2323145"/>
              <a:gd name="connsiteX256" fmla="*/ 416820 w 11269336"/>
              <a:gd name="connsiteY256" fmla="*/ 2305443 h 2323145"/>
              <a:gd name="connsiteX257" fmla="*/ 376805 w 11269336"/>
              <a:gd name="connsiteY257" fmla="*/ 2307647 h 2323145"/>
              <a:gd name="connsiteX258" fmla="*/ 266777 w 11269336"/>
              <a:gd name="connsiteY258" fmla="*/ 2309012 h 2323145"/>
              <a:gd name="connsiteX259" fmla="*/ 156013 w 11269336"/>
              <a:gd name="connsiteY259" fmla="*/ 2306832 h 2323145"/>
              <a:gd name="connsiteX260" fmla="*/ 87258 w 11269336"/>
              <a:gd name="connsiteY260" fmla="*/ 2285511 h 2323145"/>
              <a:gd name="connsiteX261" fmla="*/ 23798 w 11269336"/>
              <a:gd name="connsiteY261" fmla="*/ 2281822 h 2323145"/>
              <a:gd name="connsiteX262" fmla="*/ 0 w 11269336"/>
              <a:gd name="connsiteY262" fmla="*/ 2285369 h 2323145"/>
              <a:gd name="connsiteX263" fmla="*/ 0 w 11269336"/>
              <a:gd name="connsiteY263"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380600 w 11269336"/>
              <a:gd name="connsiteY19" fmla="*/ 549821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41688 w 11269336"/>
              <a:gd name="connsiteY133" fmla="*/ 2022334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702453 w 11269336"/>
              <a:gd name="connsiteY141" fmla="*/ 2151586 h 2323145"/>
              <a:gd name="connsiteX142" fmla="*/ 4678455 w 11269336"/>
              <a:gd name="connsiteY142" fmla="*/ 2156131 h 2323145"/>
              <a:gd name="connsiteX143" fmla="*/ 4593061 w 11269336"/>
              <a:gd name="connsiteY143" fmla="*/ 2171597 h 2323145"/>
              <a:gd name="connsiteX144" fmla="*/ 4579902 w 11269336"/>
              <a:gd name="connsiteY144" fmla="*/ 2177927 h 2323145"/>
              <a:gd name="connsiteX145" fmla="*/ 4533444 w 11269336"/>
              <a:gd name="connsiteY145" fmla="*/ 2181200 h 2323145"/>
              <a:gd name="connsiteX146" fmla="*/ 4492832 w 11269336"/>
              <a:gd name="connsiteY146" fmla="*/ 2188033 h 2323145"/>
              <a:gd name="connsiteX147" fmla="*/ 4467257 w 11269336"/>
              <a:gd name="connsiteY147" fmla="*/ 2196121 h 2323145"/>
              <a:gd name="connsiteX148" fmla="*/ 4459937 w 11269336"/>
              <a:gd name="connsiteY148" fmla="*/ 2195182 h 2323145"/>
              <a:gd name="connsiteX149" fmla="*/ 4433312 w 11269336"/>
              <a:gd name="connsiteY149" fmla="*/ 2199004 h 2323145"/>
              <a:gd name="connsiteX150" fmla="*/ 4420601 w 11269336"/>
              <a:gd name="connsiteY150" fmla="*/ 2205158 h 2323145"/>
              <a:gd name="connsiteX151" fmla="*/ 4405765 w 11269336"/>
              <a:gd name="connsiteY151" fmla="*/ 2199902 h 2323145"/>
              <a:gd name="connsiteX152" fmla="*/ 4401354 w 11269336"/>
              <a:gd name="connsiteY152" fmla="*/ 2194745 h 2323145"/>
              <a:gd name="connsiteX153" fmla="*/ 4383151 w 11269336"/>
              <a:gd name="connsiteY153" fmla="*/ 2201140 h 2323145"/>
              <a:gd name="connsiteX154" fmla="*/ 4366646 w 11269336"/>
              <a:gd name="connsiteY154" fmla="*/ 2198564 h 2323145"/>
              <a:gd name="connsiteX155" fmla="*/ 4354009 w 11269336"/>
              <a:gd name="connsiteY155" fmla="*/ 2204984 h 2323145"/>
              <a:gd name="connsiteX156" fmla="*/ 4348284 w 11269336"/>
              <a:gd name="connsiteY156" fmla="*/ 2205270 h 2323145"/>
              <a:gd name="connsiteX157" fmla="*/ 4333906 w 11269336"/>
              <a:gd name="connsiteY157" fmla="*/ 2205251 h 2323145"/>
              <a:gd name="connsiteX158" fmla="*/ 4308819 w 11269336"/>
              <a:gd name="connsiteY158" fmla="*/ 2203822 h 2323145"/>
              <a:gd name="connsiteX159" fmla="*/ 4301210 w 11269336"/>
              <a:gd name="connsiteY159" fmla="*/ 2204456 h 2323145"/>
              <a:gd name="connsiteX160" fmla="*/ 4283095 w 11269336"/>
              <a:gd name="connsiteY160" fmla="*/ 2198177 h 2323145"/>
              <a:gd name="connsiteX161" fmla="*/ 4250119 w 11269336"/>
              <a:gd name="connsiteY161" fmla="*/ 2196342 h 2323145"/>
              <a:gd name="connsiteX162" fmla="*/ 4189203 w 11269336"/>
              <a:gd name="connsiteY162" fmla="*/ 2178994 h 2323145"/>
              <a:gd name="connsiteX163" fmla="*/ 4154035 w 11269336"/>
              <a:gd name="connsiteY163" fmla="*/ 2171950 h 2323145"/>
              <a:gd name="connsiteX164" fmla="*/ 4129569 w 11269336"/>
              <a:gd name="connsiteY164" fmla="*/ 2163850 h 2323145"/>
              <a:gd name="connsiteX165" fmla="*/ 4061250 w 11269336"/>
              <a:gd name="connsiteY165" fmla="*/ 2159236 h 2323145"/>
              <a:gd name="connsiteX166" fmla="*/ 3945480 w 11269336"/>
              <a:gd name="connsiteY166" fmla="*/ 2158279 h 2323145"/>
              <a:gd name="connsiteX167" fmla="*/ 3921468 w 11269336"/>
              <a:gd name="connsiteY167" fmla="*/ 2156588 h 2323145"/>
              <a:gd name="connsiteX168" fmla="*/ 3903348 w 11269336"/>
              <a:gd name="connsiteY168" fmla="*/ 2149220 h 2323145"/>
              <a:gd name="connsiteX169" fmla="*/ 3901342 w 11269336"/>
              <a:gd name="connsiteY169" fmla="*/ 2142355 h 2323145"/>
              <a:gd name="connsiteX170" fmla="*/ 3888539 w 11269336"/>
              <a:gd name="connsiteY170" fmla="*/ 2140476 h 2323145"/>
              <a:gd name="connsiteX171" fmla="*/ 3885662 w 11269336"/>
              <a:gd name="connsiteY171" fmla="*/ 2138740 h 2323145"/>
              <a:gd name="connsiteX172" fmla="*/ 3868627 w 11269336"/>
              <a:gd name="connsiteY172" fmla="*/ 2130023 h 2323145"/>
              <a:gd name="connsiteX173" fmla="*/ 3819177 w 11269336"/>
              <a:gd name="connsiteY173" fmla="*/ 2142111 h 2323145"/>
              <a:gd name="connsiteX174" fmla="*/ 3769100 w 11269336"/>
              <a:gd name="connsiteY174" fmla="*/ 2131731 h 2323145"/>
              <a:gd name="connsiteX175" fmla="*/ 3562752 w 11269336"/>
              <a:gd name="connsiteY175" fmla="*/ 2131785 h 2323145"/>
              <a:gd name="connsiteX176" fmla="*/ 3541402 w 11269336"/>
              <a:gd name="connsiteY176" fmla="*/ 2106821 h 2323145"/>
              <a:gd name="connsiteX177" fmla="*/ 3365341 w 11269336"/>
              <a:gd name="connsiteY177" fmla="*/ 2077638 h 2323145"/>
              <a:gd name="connsiteX178" fmla="*/ 3170922 w 11269336"/>
              <a:gd name="connsiteY178" fmla="*/ 2115957 h 2323145"/>
              <a:gd name="connsiteX179" fmla="*/ 3156256 w 11269336"/>
              <a:gd name="connsiteY179" fmla="*/ 2124773 h 2323145"/>
              <a:gd name="connsiteX180" fmla="*/ 3140298 w 11269336"/>
              <a:gd name="connsiteY180" fmla="*/ 2129182 h 2323145"/>
              <a:gd name="connsiteX181" fmla="*/ 3138514 w 11269336"/>
              <a:gd name="connsiteY181" fmla="*/ 2128069 h 2323145"/>
              <a:gd name="connsiteX182" fmla="*/ 3120467 w 11269336"/>
              <a:gd name="connsiteY182" fmla="*/ 2128281 h 2323145"/>
              <a:gd name="connsiteX183" fmla="*/ 3116175 w 11269336"/>
              <a:gd name="connsiteY183" fmla="*/ 2131633 h 2323145"/>
              <a:gd name="connsiteX184" fmla="*/ 3103685 w 11269336"/>
              <a:gd name="connsiteY184" fmla="*/ 2132814 h 2323145"/>
              <a:gd name="connsiteX185" fmla="*/ 3078794 w 11269336"/>
              <a:gd name="connsiteY185" fmla="*/ 2137935 h 2323145"/>
              <a:gd name="connsiteX186" fmla="*/ 3074407 w 11269336"/>
              <a:gd name="connsiteY186" fmla="*/ 2136274 h 2323145"/>
              <a:gd name="connsiteX187" fmla="*/ 3037285 w 11269336"/>
              <a:gd name="connsiteY187" fmla="*/ 2139919 h 2323145"/>
              <a:gd name="connsiteX188" fmla="*/ 3036901 w 11269336"/>
              <a:gd name="connsiteY188" fmla="*/ 2138726 h 2323145"/>
              <a:gd name="connsiteX189" fmla="*/ 3026996 w 11269336"/>
              <a:gd name="connsiteY189" fmla="*/ 2134322 h 2323145"/>
              <a:gd name="connsiteX190" fmla="*/ 3007772 w 11269336"/>
              <a:gd name="connsiteY190" fmla="*/ 2128742 h 2323145"/>
              <a:gd name="connsiteX191" fmla="*/ 2965030 w 11269336"/>
              <a:gd name="connsiteY191" fmla="*/ 2100494 h 2323145"/>
              <a:gd name="connsiteX192" fmla="*/ 2926342 w 11269336"/>
              <a:gd name="connsiteY192" fmla="*/ 2104155 h 2323145"/>
              <a:gd name="connsiteX193" fmla="*/ 2918608 w 11269336"/>
              <a:gd name="connsiteY193" fmla="*/ 2104215 h 2323145"/>
              <a:gd name="connsiteX194" fmla="*/ 2918475 w 11269336"/>
              <a:gd name="connsiteY194" fmla="*/ 2103937 h 2323145"/>
              <a:gd name="connsiteX195" fmla="*/ 2910360 w 11269336"/>
              <a:gd name="connsiteY195" fmla="*/ 2103444 h 2323145"/>
              <a:gd name="connsiteX196" fmla="*/ 2904507 w 11269336"/>
              <a:gd name="connsiteY196" fmla="*/ 2104326 h 2323145"/>
              <a:gd name="connsiteX197" fmla="*/ 2889503 w 11269336"/>
              <a:gd name="connsiteY197" fmla="*/ 2104443 h 2323145"/>
              <a:gd name="connsiteX198" fmla="*/ 2884480 w 11269336"/>
              <a:gd name="connsiteY198" fmla="*/ 2102626 h 2323145"/>
              <a:gd name="connsiteX199" fmla="*/ 2882689 w 11269336"/>
              <a:gd name="connsiteY199" fmla="*/ 2099228 h 2323145"/>
              <a:gd name="connsiteX200" fmla="*/ 2881291 w 11269336"/>
              <a:gd name="connsiteY200" fmla="*/ 2099618 h 2323145"/>
              <a:gd name="connsiteX201" fmla="*/ 2853979 w 11269336"/>
              <a:gd name="connsiteY201" fmla="*/ 2090388 h 2323145"/>
              <a:gd name="connsiteX202" fmla="*/ 2791790 w 11269336"/>
              <a:gd name="connsiteY202" fmla="*/ 2080332 h 2323145"/>
              <a:gd name="connsiteX203" fmla="*/ 2755844 w 11269336"/>
              <a:gd name="connsiteY203" fmla="*/ 2078874 h 2323145"/>
              <a:gd name="connsiteX204" fmla="*/ 2657742 w 11269336"/>
              <a:gd name="connsiteY204" fmla="*/ 2070179 h 2323145"/>
              <a:gd name="connsiteX205" fmla="*/ 2559549 w 11269336"/>
              <a:gd name="connsiteY205" fmla="*/ 2057873 h 2323145"/>
              <a:gd name="connsiteX206" fmla="*/ 2512054 w 11269336"/>
              <a:gd name="connsiteY206" fmla="*/ 2031671 h 2323145"/>
              <a:gd name="connsiteX207" fmla="*/ 2506437 w 11269336"/>
              <a:gd name="connsiteY207" fmla="*/ 2030918 h 2323145"/>
              <a:gd name="connsiteX208" fmla="*/ 2491752 w 11269336"/>
              <a:gd name="connsiteY208" fmla="*/ 2033906 h 2323145"/>
              <a:gd name="connsiteX209" fmla="*/ 2486338 w 11269336"/>
              <a:gd name="connsiteY209" fmla="*/ 2035862 h 2323145"/>
              <a:gd name="connsiteX210" fmla="*/ 2478186 w 11269336"/>
              <a:gd name="connsiteY210" fmla="*/ 2036953 h 2323145"/>
              <a:gd name="connsiteX211" fmla="*/ 2477950 w 11269336"/>
              <a:gd name="connsiteY211" fmla="*/ 2036715 h 2323145"/>
              <a:gd name="connsiteX212" fmla="*/ 2470381 w 11269336"/>
              <a:gd name="connsiteY212" fmla="*/ 2038256 h 2323145"/>
              <a:gd name="connsiteX213" fmla="*/ 2433781 w 11269336"/>
              <a:gd name="connsiteY213" fmla="*/ 2049140 h 2323145"/>
              <a:gd name="connsiteX214" fmla="*/ 2381172 w 11269336"/>
              <a:gd name="connsiteY214" fmla="*/ 2030645 h 2323145"/>
              <a:gd name="connsiteX215" fmla="*/ 2360198 w 11269336"/>
              <a:gd name="connsiteY215" fmla="*/ 2029059 h 2323145"/>
              <a:gd name="connsiteX216" fmla="*/ 2348815 w 11269336"/>
              <a:gd name="connsiteY216" fmla="*/ 2026798 h 2323145"/>
              <a:gd name="connsiteX217" fmla="*/ 2347988 w 11269336"/>
              <a:gd name="connsiteY217" fmla="*/ 2025745 h 2323145"/>
              <a:gd name="connsiteX218" fmla="*/ 2312920 w 11269336"/>
              <a:gd name="connsiteY218" fmla="*/ 2036311 h 2323145"/>
              <a:gd name="connsiteX219" fmla="*/ 2307986 w 11269336"/>
              <a:gd name="connsiteY219" fmla="*/ 2035583 h 2323145"/>
              <a:gd name="connsiteX220" fmla="*/ 2285481 w 11269336"/>
              <a:gd name="connsiteY220" fmla="*/ 2045197 h 2323145"/>
              <a:gd name="connsiteX221" fmla="*/ 2273666 w 11269336"/>
              <a:gd name="connsiteY221" fmla="*/ 2048710 h 2323145"/>
              <a:gd name="connsiteX222" fmla="*/ 2270719 w 11269336"/>
              <a:gd name="connsiteY222" fmla="*/ 2052702 h 2323145"/>
              <a:gd name="connsiteX223" fmla="*/ 2253080 w 11269336"/>
              <a:gd name="connsiteY223" fmla="*/ 2056363 h 2323145"/>
              <a:gd name="connsiteX224" fmla="*/ 2250906 w 11269336"/>
              <a:gd name="connsiteY224" fmla="*/ 2055654 h 2323145"/>
              <a:gd name="connsiteX225" fmla="*/ 2236905 w 11269336"/>
              <a:gd name="connsiteY225" fmla="*/ 2062882 h 2323145"/>
              <a:gd name="connsiteX226" fmla="*/ 2225830 w 11269336"/>
              <a:gd name="connsiteY226" fmla="*/ 2074027 h 2323145"/>
              <a:gd name="connsiteX227" fmla="*/ 2073776 w 11269336"/>
              <a:gd name="connsiteY227" fmla="*/ 2089244 h 2323145"/>
              <a:gd name="connsiteX228" fmla="*/ 1948256 w 11269336"/>
              <a:gd name="connsiteY228" fmla="*/ 2146616 h 2323145"/>
              <a:gd name="connsiteX229" fmla="*/ 1865582 w 11269336"/>
              <a:gd name="connsiteY229" fmla="*/ 2153738 h 2323145"/>
              <a:gd name="connsiteX230" fmla="*/ 1835210 w 11269336"/>
              <a:gd name="connsiteY230" fmla="*/ 2134244 h 2323145"/>
              <a:gd name="connsiteX231" fmla="*/ 1632661 w 11269336"/>
              <a:gd name="connsiteY231" fmla="*/ 2173882 h 2323145"/>
              <a:gd name="connsiteX232" fmla="*/ 1579590 w 11269336"/>
              <a:gd name="connsiteY232" fmla="*/ 2173680 h 2323145"/>
              <a:gd name="connsiteX233" fmla="*/ 1535601 w 11269336"/>
              <a:gd name="connsiteY233" fmla="*/ 2194590 h 2323145"/>
              <a:gd name="connsiteX234" fmla="*/ 1515594 w 11269336"/>
              <a:gd name="connsiteY234" fmla="*/ 2189622 h 2323145"/>
              <a:gd name="connsiteX235" fmla="*/ 1512113 w 11269336"/>
              <a:gd name="connsiteY235" fmla="*/ 2188534 h 2323145"/>
              <a:gd name="connsiteX236" fmla="*/ 1498838 w 11269336"/>
              <a:gd name="connsiteY236" fmla="*/ 2189213 h 2323145"/>
              <a:gd name="connsiteX237" fmla="*/ 1494279 w 11269336"/>
              <a:gd name="connsiteY237" fmla="*/ 2183112 h 2323145"/>
              <a:gd name="connsiteX238" fmla="*/ 1473714 w 11269336"/>
              <a:gd name="connsiteY238" fmla="*/ 2179625 h 2323145"/>
              <a:gd name="connsiteX239" fmla="*/ 1449503 w 11269336"/>
              <a:gd name="connsiteY239" fmla="*/ 2182633 h 2323145"/>
              <a:gd name="connsiteX240" fmla="*/ 1266687 w 11269336"/>
              <a:gd name="connsiteY240" fmla="*/ 2212688 h 2323145"/>
              <a:gd name="connsiteX241" fmla="*/ 1239614 w 11269336"/>
              <a:gd name="connsiteY241" fmla="*/ 2209727 h 2323145"/>
              <a:gd name="connsiteX242" fmla="*/ 1202436 w 11269336"/>
              <a:gd name="connsiteY242" fmla="*/ 2209817 h 2323145"/>
              <a:gd name="connsiteX243" fmla="*/ 1136097 w 11269336"/>
              <a:gd name="connsiteY243" fmla="*/ 2205112 h 2323145"/>
              <a:gd name="connsiteX244" fmla="*/ 988232 w 11269336"/>
              <a:gd name="connsiteY244" fmla="*/ 2235635 h 2323145"/>
              <a:gd name="connsiteX245" fmla="*/ 981959 w 11269336"/>
              <a:gd name="connsiteY245" fmla="*/ 2231607 h 2323145"/>
              <a:gd name="connsiteX246" fmla="*/ 938600 w 11269336"/>
              <a:gd name="connsiteY246" fmla="*/ 2238113 h 2323145"/>
              <a:gd name="connsiteX247" fmla="*/ 791788 w 11269336"/>
              <a:gd name="connsiteY247" fmla="*/ 2293224 h 2323145"/>
              <a:gd name="connsiteX248" fmla="*/ 706914 w 11269336"/>
              <a:gd name="connsiteY248" fmla="*/ 2305046 h 2323145"/>
              <a:gd name="connsiteX249" fmla="*/ 675971 w 11269336"/>
              <a:gd name="connsiteY249" fmla="*/ 2304030 h 2323145"/>
              <a:gd name="connsiteX250" fmla="*/ 624180 w 11269336"/>
              <a:gd name="connsiteY250" fmla="*/ 2302650 h 2323145"/>
              <a:gd name="connsiteX251" fmla="*/ 583453 w 11269336"/>
              <a:gd name="connsiteY251" fmla="*/ 2288788 h 2323145"/>
              <a:gd name="connsiteX252" fmla="*/ 540946 w 11269336"/>
              <a:gd name="connsiteY252" fmla="*/ 2292721 h 2323145"/>
              <a:gd name="connsiteX253" fmla="*/ 533680 w 11269336"/>
              <a:gd name="connsiteY253" fmla="*/ 2310233 h 2323145"/>
              <a:gd name="connsiteX254" fmla="*/ 487366 w 11269336"/>
              <a:gd name="connsiteY254" fmla="*/ 2309053 h 2323145"/>
              <a:gd name="connsiteX255" fmla="*/ 416820 w 11269336"/>
              <a:gd name="connsiteY255" fmla="*/ 2305443 h 2323145"/>
              <a:gd name="connsiteX256" fmla="*/ 376805 w 11269336"/>
              <a:gd name="connsiteY256" fmla="*/ 2307647 h 2323145"/>
              <a:gd name="connsiteX257" fmla="*/ 266777 w 11269336"/>
              <a:gd name="connsiteY257" fmla="*/ 2309012 h 2323145"/>
              <a:gd name="connsiteX258" fmla="*/ 156013 w 11269336"/>
              <a:gd name="connsiteY258" fmla="*/ 2306832 h 2323145"/>
              <a:gd name="connsiteX259" fmla="*/ 87258 w 11269336"/>
              <a:gd name="connsiteY259" fmla="*/ 2285511 h 2323145"/>
              <a:gd name="connsiteX260" fmla="*/ 23798 w 11269336"/>
              <a:gd name="connsiteY260" fmla="*/ 2281822 h 2323145"/>
              <a:gd name="connsiteX261" fmla="*/ 0 w 11269336"/>
              <a:gd name="connsiteY261" fmla="*/ 2285369 h 2323145"/>
              <a:gd name="connsiteX262" fmla="*/ 0 w 11269336"/>
              <a:gd name="connsiteY26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41688 w 11269336"/>
              <a:gd name="connsiteY133" fmla="*/ 2022334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702453 w 11269336"/>
              <a:gd name="connsiteY141" fmla="*/ 2151586 h 2323145"/>
              <a:gd name="connsiteX142" fmla="*/ 4678455 w 11269336"/>
              <a:gd name="connsiteY142" fmla="*/ 2156131 h 2323145"/>
              <a:gd name="connsiteX143" fmla="*/ 4593061 w 11269336"/>
              <a:gd name="connsiteY143" fmla="*/ 2171597 h 2323145"/>
              <a:gd name="connsiteX144" fmla="*/ 4579902 w 11269336"/>
              <a:gd name="connsiteY144" fmla="*/ 2177927 h 2323145"/>
              <a:gd name="connsiteX145" fmla="*/ 4533444 w 11269336"/>
              <a:gd name="connsiteY145" fmla="*/ 2181200 h 2323145"/>
              <a:gd name="connsiteX146" fmla="*/ 4492832 w 11269336"/>
              <a:gd name="connsiteY146" fmla="*/ 2188033 h 2323145"/>
              <a:gd name="connsiteX147" fmla="*/ 4467257 w 11269336"/>
              <a:gd name="connsiteY147" fmla="*/ 2196121 h 2323145"/>
              <a:gd name="connsiteX148" fmla="*/ 4459937 w 11269336"/>
              <a:gd name="connsiteY148" fmla="*/ 2195182 h 2323145"/>
              <a:gd name="connsiteX149" fmla="*/ 4433312 w 11269336"/>
              <a:gd name="connsiteY149" fmla="*/ 2199004 h 2323145"/>
              <a:gd name="connsiteX150" fmla="*/ 4420601 w 11269336"/>
              <a:gd name="connsiteY150" fmla="*/ 2205158 h 2323145"/>
              <a:gd name="connsiteX151" fmla="*/ 4405765 w 11269336"/>
              <a:gd name="connsiteY151" fmla="*/ 2199902 h 2323145"/>
              <a:gd name="connsiteX152" fmla="*/ 4401354 w 11269336"/>
              <a:gd name="connsiteY152" fmla="*/ 2194745 h 2323145"/>
              <a:gd name="connsiteX153" fmla="*/ 4383151 w 11269336"/>
              <a:gd name="connsiteY153" fmla="*/ 2201140 h 2323145"/>
              <a:gd name="connsiteX154" fmla="*/ 4366646 w 11269336"/>
              <a:gd name="connsiteY154" fmla="*/ 2198564 h 2323145"/>
              <a:gd name="connsiteX155" fmla="*/ 4354009 w 11269336"/>
              <a:gd name="connsiteY155" fmla="*/ 2204984 h 2323145"/>
              <a:gd name="connsiteX156" fmla="*/ 4348284 w 11269336"/>
              <a:gd name="connsiteY156" fmla="*/ 2205270 h 2323145"/>
              <a:gd name="connsiteX157" fmla="*/ 4333906 w 11269336"/>
              <a:gd name="connsiteY157" fmla="*/ 2205251 h 2323145"/>
              <a:gd name="connsiteX158" fmla="*/ 4308819 w 11269336"/>
              <a:gd name="connsiteY158" fmla="*/ 2203822 h 2323145"/>
              <a:gd name="connsiteX159" fmla="*/ 4301210 w 11269336"/>
              <a:gd name="connsiteY159" fmla="*/ 2204456 h 2323145"/>
              <a:gd name="connsiteX160" fmla="*/ 4283095 w 11269336"/>
              <a:gd name="connsiteY160" fmla="*/ 2198177 h 2323145"/>
              <a:gd name="connsiteX161" fmla="*/ 4250119 w 11269336"/>
              <a:gd name="connsiteY161" fmla="*/ 2196342 h 2323145"/>
              <a:gd name="connsiteX162" fmla="*/ 4189203 w 11269336"/>
              <a:gd name="connsiteY162" fmla="*/ 2178994 h 2323145"/>
              <a:gd name="connsiteX163" fmla="*/ 4154035 w 11269336"/>
              <a:gd name="connsiteY163" fmla="*/ 2171950 h 2323145"/>
              <a:gd name="connsiteX164" fmla="*/ 4129569 w 11269336"/>
              <a:gd name="connsiteY164" fmla="*/ 2163850 h 2323145"/>
              <a:gd name="connsiteX165" fmla="*/ 4061250 w 11269336"/>
              <a:gd name="connsiteY165" fmla="*/ 2159236 h 2323145"/>
              <a:gd name="connsiteX166" fmla="*/ 3945480 w 11269336"/>
              <a:gd name="connsiteY166" fmla="*/ 2158279 h 2323145"/>
              <a:gd name="connsiteX167" fmla="*/ 3921468 w 11269336"/>
              <a:gd name="connsiteY167" fmla="*/ 2156588 h 2323145"/>
              <a:gd name="connsiteX168" fmla="*/ 3903348 w 11269336"/>
              <a:gd name="connsiteY168" fmla="*/ 2149220 h 2323145"/>
              <a:gd name="connsiteX169" fmla="*/ 3901342 w 11269336"/>
              <a:gd name="connsiteY169" fmla="*/ 2142355 h 2323145"/>
              <a:gd name="connsiteX170" fmla="*/ 3888539 w 11269336"/>
              <a:gd name="connsiteY170" fmla="*/ 2140476 h 2323145"/>
              <a:gd name="connsiteX171" fmla="*/ 3885662 w 11269336"/>
              <a:gd name="connsiteY171" fmla="*/ 2138740 h 2323145"/>
              <a:gd name="connsiteX172" fmla="*/ 3868627 w 11269336"/>
              <a:gd name="connsiteY172" fmla="*/ 2130023 h 2323145"/>
              <a:gd name="connsiteX173" fmla="*/ 3819177 w 11269336"/>
              <a:gd name="connsiteY173" fmla="*/ 2142111 h 2323145"/>
              <a:gd name="connsiteX174" fmla="*/ 3769100 w 11269336"/>
              <a:gd name="connsiteY174" fmla="*/ 2131731 h 2323145"/>
              <a:gd name="connsiteX175" fmla="*/ 3562752 w 11269336"/>
              <a:gd name="connsiteY175" fmla="*/ 2131785 h 2323145"/>
              <a:gd name="connsiteX176" fmla="*/ 3541402 w 11269336"/>
              <a:gd name="connsiteY176" fmla="*/ 2106821 h 2323145"/>
              <a:gd name="connsiteX177" fmla="*/ 3365341 w 11269336"/>
              <a:gd name="connsiteY177" fmla="*/ 2077638 h 2323145"/>
              <a:gd name="connsiteX178" fmla="*/ 3170922 w 11269336"/>
              <a:gd name="connsiteY178" fmla="*/ 2115957 h 2323145"/>
              <a:gd name="connsiteX179" fmla="*/ 3156256 w 11269336"/>
              <a:gd name="connsiteY179" fmla="*/ 2124773 h 2323145"/>
              <a:gd name="connsiteX180" fmla="*/ 3140298 w 11269336"/>
              <a:gd name="connsiteY180" fmla="*/ 2129182 h 2323145"/>
              <a:gd name="connsiteX181" fmla="*/ 3138514 w 11269336"/>
              <a:gd name="connsiteY181" fmla="*/ 2128069 h 2323145"/>
              <a:gd name="connsiteX182" fmla="*/ 3120467 w 11269336"/>
              <a:gd name="connsiteY182" fmla="*/ 2128281 h 2323145"/>
              <a:gd name="connsiteX183" fmla="*/ 3116175 w 11269336"/>
              <a:gd name="connsiteY183" fmla="*/ 2131633 h 2323145"/>
              <a:gd name="connsiteX184" fmla="*/ 3103685 w 11269336"/>
              <a:gd name="connsiteY184" fmla="*/ 2132814 h 2323145"/>
              <a:gd name="connsiteX185" fmla="*/ 3078794 w 11269336"/>
              <a:gd name="connsiteY185" fmla="*/ 2137935 h 2323145"/>
              <a:gd name="connsiteX186" fmla="*/ 3074407 w 11269336"/>
              <a:gd name="connsiteY186" fmla="*/ 2136274 h 2323145"/>
              <a:gd name="connsiteX187" fmla="*/ 3037285 w 11269336"/>
              <a:gd name="connsiteY187" fmla="*/ 2139919 h 2323145"/>
              <a:gd name="connsiteX188" fmla="*/ 3036901 w 11269336"/>
              <a:gd name="connsiteY188" fmla="*/ 2138726 h 2323145"/>
              <a:gd name="connsiteX189" fmla="*/ 3026996 w 11269336"/>
              <a:gd name="connsiteY189" fmla="*/ 2134322 h 2323145"/>
              <a:gd name="connsiteX190" fmla="*/ 3007772 w 11269336"/>
              <a:gd name="connsiteY190" fmla="*/ 2128742 h 2323145"/>
              <a:gd name="connsiteX191" fmla="*/ 2965030 w 11269336"/>
              <a:gd name="connsiteY191" fmla="*/ 2100494 h 2323145"/>
              <a:gd name="connsiteX192" fmla="*/ 2926342 w 11269336"/>
              <a:gd name="connsiteY192" fmla="*/ 2104155 h 2323145"/>
              <a:gd name="connsiteX193" fmla="*/ 2918608 w 11269336"/>
              <a:gd name="connsiteY193" fmla="*/ 2104215 h 2323145"/>
              <a:gd name="connsiteX194" fmla="*/ 2918475 w 11269336"/>
              <a:gd name="connsiteY194" fmla="*/ 2103937 h 2323145"/>
              <a:gd name="connsiteX195" fmla="*/ 2910360 w 11269336"/>
              <a:gd name="connsiteY195" fmla="*/ 2103444 h 2323145"/>
              <a:gd name="connsiteX196" fmla="*/ 2904507 w 11269336"/>
              <a:gd name="connsiteY196" fmla="*/ 2104326 h 2323145"/>
              <a:gd name="connsiteX197" fmla="*/ 2889503 w 11269336"/>
              <a:gd name="connsiteY197" fmla="*/ 2104443 h 2323145"/>
              <a:gd name="connsiteX198" fmla="*/ 2884480 w 11269336"/>
              <a:gd name="connsiteY198" fmla="*/ 2102626 h 2323145"/>
              <a:gd name="connsiteX199" fmla="*/ 2882689 w 11269336"/>
              <a:gd name="connsiteY199" fmla="*/ 2099228 h 2323145"/>
              <a:gd name="connsiteX200" fmla="*/ 2881291 w 11269336"/>
              <a:gd name="connsiteY200" fmla="*/ 2099618 h 2323145"/>
              <a:gd name="connsiteX201" fmla="*/ 2853979 w 11269336"/>
              <a:gd name="connsiteY201" fmla="*/ 2090388 h 2323145"/>
              <a:gd name="connsiteX202" fmla="*/ 2791790 w 11269336"/>
              <a:gd name="connsiteY202" fmla="*/ 2080332 h 2323145"/>
              <a:gd name="connsiteX203" fmla="*/ 2755844 w 11269336"/>
              <a:gd name="connsiteY203" fmla="*/ 2078874 h 2323145"/>
              <a:gd name="connsiteX204" fmla="*/ 2657742 w 11269336"/>
              <a:gd name="connsiteY204" fmla="*/ 2070179 h 2323145"/>
              <a:gd name="connsiteX205" fmla="*/ 2559549 w 11269336"/>
              <a:gd name="connsiteY205" fmla="*/ 2057873 h 2323145"/>
              <a:gd name="connsiteX206" fmla="*/ 2512054 w 11269336"/>
              <a:gd name="connsiteY206" fmla="*/ 2031671 h 2323145"/>
              <a:gd name="connsiteX207" fmla="*/ 2506437 w 11269336"/>
              <a:gd name="connsiteY207" fmla="*/ 2030918 h 2323145"/>
              <a:gd name="connsiteX208" fmla="*/ 2491752 w 11269336"/>
              <a:gd name="connsiteY208" fmla="*/ 2033906 h 2323145"/>
              <a:gd name="connsiteX209" fmla="*/ 2486338 w 11269336"/>
              <a:gd name="connsiteY209" fmla="*/ 2035862 h 2323145"/>
              <a:gd name="connsiteX210" fmla="*/ 2478186 w 11269336"/>
              <a:gd name="connsiteY210" fmla="*/ 2036953 h 2323145"/>
              <a:gd name="connsiteX211" fmla="*/ 2477950 w 11269336"/>
              <a:gd name="connsiteY211" fmla="*/ 2036715 h 2323145"/>
              <a:gd name="connsiteX212" fmla="*/ 2470381 w 11269336"/>
              <a:gd name="connsiteY212" fmla="*/ 2038256 h 2323145"/>
              <a:gd name="connsiteX213" fmla="*/ 2433781 w 11269336"/>
              <a:gd name="connsiteY213" fmla="*/ 2049140 h 2323145"/>
              <a:gd name="connsiteX214" fmla="*/ 2381172 w 11269336"/>
              <a:gd name="connsiteY214" fmla="*/ 2030645 h 2323145"/>
              <a:gd name="connsiteX215" fmla="*/ 2360198 w 11269336"/>
              <a:gd name="connsiteY215" fmla="*/ 2029059 h 2323145"/>
              <a:gd name="connsiteX216" fmla="*/ 2348815 w 11269336"/>
              <a:gd name="connsiteY216" fmla="*/ 2026798 h 2323145"/>
              <a:gd name="connsiteX217" fmla="*/ 2347988 w 11269336"/>
              <a:gd name="connsiteY217" fmla="*/ 2025745 h 2323145"/>
              <a:gd name="connsiteX218" fmla="*/ 2312920 w 11269336"/>
              <a:gd name="connsiteY218" fmla="*/ 2036311 h 2323145"/>
              <a:gd name="connsiteX219" fmla="*/ 2307986 w 11269336"/>
              <a:gd name="connsiteY219" fmla="*/ 2035583 h 2323145"/>
              <a:gd name="connsiteX220" fmla="*/ 2285481 w 11269336"/>
              <a:gd name="connsiteY220" fmla="*/ 2045197 h 2323145"/>
              <a:gd name="connsiteX221" fmla="*/ 2273666 w 11269336"/>
              <a:gd name="connsiteY221" fmla="*/ 2048710 h 2323145"/>
              <a:gd name="connsiteX222" fmla="*/ 2270719 w 11269336"/>
              <a:gd name="connsiteY222" fmla="*/ 2052702 h 2323145"/>
              <a:gd name="connsiteX223" fmla="*/ 2253080 w 11269336"/>
              <a:gd name="connsiteY223" fmla="*/ 2056363 h 2323145"/>
              <a:gd name="connsiteX224" fmla="*/ 2250906 w 11269336"/>
              <a:gd name="connsiteY224" fmla="*/ 2055654 h 2323145"/>
              <a:gd name="connsiteX225" fmla="*/ 2236905 w 11269336"/>
              <a:gd name="connsiteY225" fmla="*/ 2062882 h 2323145"/>
              <a:gd name="connsiteX226" fmla="*/ 2225830 w 11269336"/>
              <a:gd name="connsiteY226" fmla="*/ 2074027 h 2323145"/>
              <a:gd name="connsiteX227" fmla="*/ 2073776 w 11269336"/>
              <a:gd name="connsiteY227" fmla="*/ 2089244 h 2323145"/>
              <a:gd name="connsiteX228" fmla="*/ 1948256 w 11269336"/>
              <a:gd name="connsiteY228" fmla="*/ 2146616 h 2323145"/>
              <a:gd name="connsiteX229" fmla="*/ 1865582 w 11269336"/>
              <a:gd name="connsiteY229" fmla="*/ 2153738 h 2323145"/>
              <a:gd name="connsiteX230" fmla="*/ 1835210 w 11269336"/>
              <a:gd name="connsiteY230" fmla="*/ 2134244 h 2323145"/>
              <a:gd name="connsiteX231" fmla="*/ 1632661 w 11269336"/>
              <a:gd name="connsiteY231" fmla="*/ 2173882 h 2323145"/>
              <a:gd name="connsiteX232" fmla="*/ 1579590 w 11269336"/>
              <a:gd name="connsiteY232" fmla="*/ 2173680 h 2323145"/>
              <a:gd name="connsiteX233" fmla="*/ 1535601 w 11269336"/>
              <a:gd name="connsiteY233" fmla="*/ 2194590 h 2323145"/>
              <a:gd name="connsiteX234" fmla="*/ 1515594 w 11269336"/>
              <a:gd name="connsiteY234" fmla="*/ 2189622 h 2323145"/>
              <a:gd name="connsiteX235" fmla="*/ 1512113 w 11269336"/>
              <a:gd name="connsiteY235" fmla="*/ 2188534 h 2323145"/>
              <a:gd name="connsiteX236" fmla="*/ 1498838 w 11269336"/>
              <a:gd name="connsiteY236" fmla="*/ 2189213 h 2323145"/>
              <a:gd name="connsiteX237" fmla="*/ 1494279 w 11269336"/>
              <a:gd name="connsiteY237" fmla="*/ 2183112 h 2323145"/>
              <a:gd name="connsiteX238" fmla="*/ 1473714 w 11269336"/>
              <a:gd name="connsiteY238" fmla="*/ 2179625 h 2323145"/>
              <a:gd name="connsiteX239" fmla="*/ 1449503 w 11269336"/>
              <a:gd name="connsiteY239" fmla="*/ 2182633 h 2323145"/>
              <a:gd name="connsiteX240" fmla="*/ 1266687 w 11269336"/>
              <a:gd name="connsiteY240" fmla="*/ 2212688 h 2323145"/>
              <a:gd name="connsiteX241" fmla="*/ 1239614 w 11269336"/>
              <a:gd name="connsiteY241" fmla="*/ 2209727 h 2323145"/>
              <a:gd name="connsiteX242" fmla="*/ 1202436 w 11269336"/>
              <a:gd name="connsiteY242" fmla="*/ 2209817 h 2323145"/>
              <a:gd name="connsiteX243" fmla="*/ 1136097 w 11269336"/>
              <a:gd name="connsiteY243" fmla="*/ 2205112 h 2323145"/>
              <a:gd name="connsiteX244" fmla="*/ 988232 w 11269336"/>
              <a:gd name="connsiteY244" fmla="*/ 2235635 h 2323145"/>
              <a:gd name="connsiteX245" fmla="*/ 981959 w 11269336"/>
              <a:gd name="connsiteY245" fmla="*/ 2231607 h 2323145"/>
              <a:gd name="connsiteX246" fmla="*/ 938600 w 11269336"/>
              <a:gd name="connsiteY246" fmla="*/ 2238113 h 2323145"/>
              <a:gd name="connsiteX247" fmla="*/ 791788 w 11269336"/>
              <a:gd name="connsiteY247" fmla="*/ 2293224 h 2323145"/>
              <a:gd name="connsiteX248" fmla="*/ 706914 w 11269336"/>
              <a:gd name="connsiteY248" fmla="*/ 2305046 h 2323145"/>
              <a:gd name="connsiteX249" fmla="*/ 675971 w 11269336"/>
              <a:gd name="connsiteY249" fmla="*/ 2304030 h 2323145"/>
              <a:gd name="connsiteX250" fmla="*/ 624180 w 11269336"/>
              <a:gd name="connsiteY250" fmla="*/ 2302650 h 2323145"/>
              <a:gd name="connsiteX251" fmla="*/ 583453 w 11269336"/>
              <a:gd name="connsiteY251" fmla="*/ 2288788 h 2323145"/>
              <a:gd name="connsiteX252" fmla="*/ 540946 w 11269336"/>
              <a:gd name="connsiteY252" fmla="*/ 2292721 h 2323145"/>
              <a:gd name="connsiteX253" fmla="*/ 533680 w 11269336"/>
              <a:gd name="connsiteY253" fmla="*/ 2310233 h 2323145"/>
              <a:gd name="connsiteX254" fmla="*/ 487366 w 11269336"/>
              <a:gd name="connsiteY254" fmla="*/ 2309053 h 2323145"/>
              <a:gd name="connsiteX255" fmla="*/ 416820 w 11269336"/>
              <a:gd name="connsiteY255" fmla="*/ 2305443 h 2323145"/>
              <a:gd name="connsiteX256" fmla="*/ 376805 w 11269336"/>
              <a:gd name="connsiteY256" fmla="*/ 2307647 h 2323145"/>
              <a:gd name="connsiteX257" fmla="*/ 266777 w 11269336"/>
              <a:gd name="connsiteY257" fmla="*/ 2309012 h 2323145"/>
              <a:gd name="connsiteX258" fmla="*/ 156013 w 11269336"/>
              <a:gd name="connsiteY258" fmla="*/ 2306832 h 2323145"/>
              <a:gd name="connsiteX259" fmla="*/ 87258 w 11269336"/>
              <a:gd name="connsiteY259" fmla="*/ 2285511 h 2323145"/>
              <a:gd name="connsiteX260" fmla="*/ 23798 w 11269336"/>
              <a:gd name="connsiteY260" fmla="*/ 2281822 h 2323145"/>
              <a:gd name="connsiteX261" fmla="*/ 0 w 11269336"/>
              <a:gd name="connsiteY261" fmla="*/ 2285369 h 2323145"/>
              <a:gd name="connsiteX262" fmla="*/ 0 w 11269336"/>
              <a:gd name="connsiteY26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702453 w 11269336"/>
              <a:gd name="connsiteY141" fmla="*/ 2151586 h 2323145"/>
              <a:gd name="connsiteX142" fmla="*/ 4678455 w 11269336"/>
              <a:gd name="connsiteY142" fmla="*/ 2156131 h 2323145"/>
              <a:gd name="connsiteX143" fmla="*/ 4593061 w 11269336"/>
              <a:gd name="connsiteY143" fmla="*/ 2171597 h 2323145"/>
              <a:gd name="connsiteX144" fmla="*/ 4579902 w 11269336"/>
              <a:gd name="connsiteY144" fmla="*/ 2177927 h 2323145"/>
              <a:gd name="connsiteX145" fmla="*/ 4533444 w 11269336"/>
              <a:gd name="connsiteY145" fmla="*/ 2181200 h 2323145"/>
              <a:gd name="connsiteX146" fmla="*/ 4492832 w 11269336"/>
              <a:gd name="connsiteY146" fmla="*/ 2188033 h 2323145"/>
              <a:gd name="connsiteX147" fmla="*/ 4467257 w 11269336"/>
              <a:gd name="connsiteY147" fmla="*/ 2196121 h 2323145"/>
              <a:gd name="connsiteX148" fmla="*/ 4459937 w 11269336"/>
              <a:gd name="connsiteY148" fmla="*/ 2195182 h 2323145"/>
              <a:gd name="connsiteX149" fmla="*/ 4433312 w 11269336"/>
              <a:gd name="connsiteY149" fmla="*/ 2199004 h 2323145"/>
              <a:gd name="connsiteX150" fmla="*/ 4420601 w 11269336"/>
              <a:gd name="connsiteY150" fmla="*/ 2205158 h 2323145"/>
              <a:gd name="connsiteX151" fmla="*/ 4405765 w 11269336"/>
              <a:gd name="connsiteY151" fmla="*/ 2199902 h 2323145"/>
              <a:gd name="connsiteX152" fmla="*/ 4401354 w 11269336"/>
              <a:gd name="connsiteY152" fmla="*/ 2194745 h 2323145"/>
              <a:gd name="connsiteX153" fmla="*/ 4383151 w 11269336"/>
              <a:gd name="connsiteY153" fmla="*/ 2201140 h 2323145"/>
              <a:gd name="connsiteX154" fmla="*/ 4366646 w 11269336"/>
              <a:gd name="connsiteY154" fmla="*/ 2198564 h 2323145"/>
              <a:gd name="connsiteX155" fmla="*/ 4354009 w 11269336"/>
              <a:gd name="connsiteY155" fmla="*/ 2204984 h 2323145"/>
              <a:gd name="connsiteX156" fmla="*/ 4348284 w 11269336"/>
              <a:gd name="connsiteY156" fmla="*/ 2205270 h 2323145"/>
              <a:gd name="connsiteX157" fmla="*/ 4333906 w 11269336"/>
              <a:gd name="connsiteY157" fmla="*/ 2205251 h 2323145"/>
              <a:gd name="connsiteX158" fmla="*/ 4308819 w 11269336"/>
              <a:gd name="connsiteY158" fmla="*/ 2203822 h 2323145"/>
              <a:gd name="connsiteX159" fmla="*/ 4301210 w 11269336"/>
              <a:gd name="connsiteY159" fmla="*/ 2204456 h 2323145"/>
              <a:gd name="connsiteX160" fmla="*/ 4283095 w 11269336"/>
              <a:gd name="connsiteY160" fmla="*/ 2198177 h 2323145"/>
              <a:gd name="connsiteX161" fmla="*/ 4250119 w 11269336"/>
              <a:gd name="connsiteY161" fmla="*/ 2196342 h 2323145"/>
              <a:gd name="connsiteX162" fmla="*/ 4189203 w 11269336"/>
              <a:gd name="connsiteY162" fmla="*/ 2178994 h 2323145"/>
              <a:gd name="connsiteX163" fmla="*/ 4154035 w 11269336"/>
              <a:gd name="connsiteY163" fmla="*/ 2171950 h 2323145"/>
              <a:gd name="connsiteX164" fmla="*/ 4129569 w 11269336"/>
              <a:gd name="connsiteY164" fmla="*/ 2163850 h 2323145"/>
              <a:gd name="connsiteX165" fmla="*/ 4061250 w 11269336"/>
              <a:gd name="connsiteY165" fmla="*/ 2159236 h 2323145"/>
              <a:gd name="connsiteX166" fmla="*/ 3945480 w 11269336"/>
              <a:gd name="connsiteY166" fmla="*/ 2158279 h 2323145"/>
              <a:gd name="connsiteX167" fmla="*/ 3921468 w 11269336"/>
              <a:gd name="connsiteY167" fmla="*/ 2156588 h 2323145"/>
              <a:gd name="connsiteX168" fmla="*/ 3903348 w 11269336"/>
              <a:gd name="connsiteY168" fmla="*/ 2149220 h 2323145"/>
              <a:gd name="connsiteX169" fmla="*/ 3901342 w 11269336"/>
              <a:gd name="connsiteY169" fmla="*/ 2142355 h 2323145"/>
              <a:gd name="connsiteX170" fmla="*/ 3888539 w 11269336"/>
              <a:gd name="connsiteY170" fmla="*/ 2140476 h 2323145"/>
              <a:gd name="connsiteX171" fmla="*/ 3885662 w 11269336"/>
              <a:gd name="connsiteY171" fmla="*/ 2138740 h 2323145"/>
              <a:gd name="connsiteX172" fmla="*/ 3868627 w 11269336"/>
              <a:gd name="connsiteY172" fmla="*/ 2130023 h 2323145"/>
              <a:gd name="connsiteX173" fmla="*/ 3819177 w 11269336"/>
              <a:gd name="connsiteY173" fmla="*/ 2142111 h 2323145"/>
              <a:gd name="connsiteX174" fmla="*/ 3769100 w 11269336"/>
              <a:gd name="connsiteY174" fmla="*/ 2131731 h 2323145"/>
              <a:gd name="connsiteX175" fmla="*/ 3562752 w 11269336"/>
              <a:gd name="connsiteY175" fmla="*/ 2131785 h 2323145"/>
              <a:gd name="connsiteX176" fmla="*/ 3541402 w 11269336"/>
              <a:gd name="connsiteY176" fmla="*/ 2106821 h 2323145"/>
              <a:gd name="connsiteX177" fmla="*/ 3365341 w 11269336"/>
              <a:gd name="connsiteY177" fmla="*/ 2077638 h 2323145"/>
              <a:gd name="connsiteX178" fmla="*/ 3170922 w 11269336"/>
              <a:gd name="connsiteY178" fmla="*/ 2115957 h 2323145"/>
              <a:gd name="connsiteX179" fmla="*/ 3156256 w 11269336"/>
              <a:gd name="connsiteY179" fmla="*/ 2124773 h 2323145"/>
              <a:gd name="connsiteX180" fmla="*/ 3140298 w 11269336"/>
              <a:gd name="connsiteY180" fmla="*/ 2129182 h 2323145"/>
              <a:gd name="connsiteX181" fmla="*/ 3138514 w 11269336"/>
              <a:gd name="connsiteY181" fmla="*/ 2128069 h 2323145"/>
              <a:gd name="connsiteX182" fmla="*/ 3120467 w 11269336"/>
              <a:gd name="connsiteY182" fmla="*/ 2128281 h 2323145"/>
              <a:gd name="connsiteX183" fmla="*/ 3116175 w 11269336"/>
              <a:gd name="connsiteY183" fmla="*/ 2131633 h 2323145"/>
              <a:gd name="connsiteX184" fmla="*/ 3103685 w 11269336"/>
              <a:gd name="connsiteY184" fmla="*/ 2132814 h 2323145"/>
              <a:gd name="connsiteX185" fmla="*/ 3078794 w 11269336"/>
              <a:gd name="connsiteY185" fmla="*/ 2137935 h 2323145"/>
              <a:gd name="connsiteX186" fmla="*/ 3074407 w 11269336"/>
              <a:gd name="connsiteY186" fmla="*/ 2136274 h 2323145"/>
              <a:gd name="connsiteX187" fmla="*/ 3037285 w 11269336"/>
              <a:gd name="connsiteY187" fmla="*/ 2139919 h 2323145"/>
              <a:gd name="connsiteX188" fmla="*/ 3036901 w 11269336"/>
              <a:gd name="connsiteY188" fmla="*/ 2138726 h 2323145"/>
              <a:gd name="connsiteX189" fmla="*/ 3026996 w 11269336"/>
              <a:gd name="connsiteY189" fmla="*/ 2134322 h 2323145"/>
              <a:gd name="connsiteX190" fmla="*/ 3007772 w 11269336"/>
              <a:gd name="connsiteY190" fmla="*/ 2128742 h 2323145"/>
              <a:gd name="connsiteX191" fmla="*/ 2965030 w 11269336"/>
              <a:gd name="connsiteY191" fmla="*/ 2100494 h 2323145"/>
              <a:gd name="connsiteX192" fmla="*/ 2926342 w 11269336"/>
              <a:gd name="connsiteY192" fmla="*/ 2104155 h 2323145"/>
              <a:gd name="connsiteX193" fmla="*/ 2918608 w 11269336"/>
              <a:gd name="connsiteY193" fmla="*/ 2104215 h 2323145"/>
              <a:gd name="connsiteX194" fmla="*/ 2918475 w 11269336"/>
              <a:gd name="connsiteY194" fmla="*/ 2103937 h 2323145"/>
              <a:gd name="connsiteX195" fmla="*/ 2910360 w 11269336"/>
              <a:gd name="connsiteY195" fmla="*/ 2103444 h 2323145"/>
              <a:gd name="connsiteX196" fmla="*/ 2904507 w 11269336"/>
              <a:gd name="connsiteY196" fmla="*/ 2104326 h 2323145"/>
              <a:gd name="connsiteX197" fmla="*/ 2889503 w 11269336"/>
              <a:gd name="connsiteY197" fmla="*/ 2104443 h 2323145"/>
              <a:gd name="connsiteX198" fmla="*/ 2884480 w 11269336"/>
              <a:gd name="connsiteY198" fmla="*/ 2102626 h 2323145"/>
              <a:gd name="connsiteX199" fmla="*/ 2882689 w 11269336"/>
              <a:gd name="connsiteY199" fmla="*/ 2099228 h 2323145"/>
              <a:gd name="connsiteX200" fmla="*/ 2881291 w 11269336"/>
              <a:gd name="connsiteY200" fmla="*/ 2099618 h 2323145"/>
              <a:gd name="connsiteX201" fmla="*/ 2853979 w 11269336"/>
              <a:gd name="connsiteY201" fmla="*/ 2090388 h 2323145"/>
              <a:gd name="connsiteX202" fmla="*/ 2791790 w 11269336"/>
              <a:gd name="connsiteY202" fmla="*/ 2080332 h 2323145"/>
              <a:gd name="connsiteX203" fmla="*/ 2755844 w 11269336"/>
              <a:gd name="connsiteY203" fmla="*/ 2078874 h 2323145"/>
              <a:gd name="connsiteX204" fmla="*/ 2657742 w 11269336"/>
              <a:gd name="connsiteY204" fmla="*/ 2070179 h 2323145"/>
              <a:gd name="connsiteX205" fmla="*/ 2559549 w 11269336"/>
              <a:gd name="connsiteY205" fmla="*/ 2057873 h 2323145"/>
              <a:gd name="connsiteX206" fmla="*/ 2512054 w 11269336"/>
              <a:gd name="connsiteY206" fmla="*/ 2031671 h 2323145"/>
              <a:gd name="connsiteX207" fmla="*/ 2506437 w 11269336"/>
              <a:gd name="connsiteY207" fmla="*/ 2030918 h 2323145"/>
              <a:gd name="connsiteX208" fmla="*/ 2491752 w 11269336"/>
              <a:gd name="connsiteY208" fmla="*/ 2033906 h 2323145"/>
              <a:gd name="connsiteX209" fmla="*/ 2486338 w 11269336"/>
              <a:gd name="connsiteY209" fmla="*/ 2035862 h 2323145"/>
              <a:gd name="connsiteX210" fmla="*/ 2478186 w 11269336"/>
              <a:gd name="connsiteY210" fmla="*/ 2036953 h 2323145"/>
              <a:gd name="connsiteX211" fmla="*/ 2477950 w 11269336"/>
              <a:gd name="connsiteY211" fmla="*/ 2036715 h 2323145"/>
              <a:gd name="connsiteX212" fmla="*/ 2470381 w 11269336"/>
              <a:gd name="connsiteY212" fmla="*/ 2038256 h 2323145"/>
              <a:gd name="connsiteX213" fmla="*/ 2433781 w 11269336"/>
              <a:gd name="connsiteY213" fmla="*/ 2049140 h 2323145"/>
              <a:gd name="connsiteX214" fmla="*/ 2381172 w 11269336"/>
              <a:gd name="connsiteY214" fmla="*/ 2030645 h 2323145"/>
              <a:gd name="connsiteX215" fmla="*/ 2360198 w 11269336"/>
              <a:gd name="connsiteY215" fmla="*/ 2029059 h 2323145"/>
              <a:gd name="connsiteX216" fmla="*/ 2348815 w 11269336"/>
              <a:gd name="connsiteY216" fmla="*/ 2026798 h 2323145"/>
              <a:gd name="connsiteX217" fmla="*/ 2347988 w 11269336"/>
              <a:gd name="connsiteY217" fmla="*/ 2025745 h 2323145"/>
              <a:gd name="connsiteX218" fmla="*/ 2312920 w 11269336"/>
              <a:gd name="connsiteY218" fmla="*/ 2036311 h 2323145"/>
              <a:gd name="connsiteX219" fmla="*/ 2307986 w 11269336"/>
              <a:gd name="connsiteY219" fmla="*/ 2035583 h 2323145"/>
              <a:gd name="connsiteX220" fmla="*/ 2285481 w 11269336"/>
              <a:gd name="connsiteY220" fmla="*/ 2045197 h 2323145"/>
              <a:gd name="connsiteX221" fmla="*/ 2273666 w 11269336"/>
              <a:gd name="connsiteY221" fmla="*/ 2048710 h 2323145"/>
              <a:gd name="connsiteX222" fmla="*/ 2270719 w 11269336"/>
              <a:gd name="connsiteY222" fmla="*/ 2052702 h 2323145"/>
              <a:gd name="connsiteX223" fmla="*/ 2253080 w 11269336"/>
              <a:gd name="connsiteY223" fmla="*/ 2056363 h 2323145"/>
              <a:gd name="connsiteX224" fmla="*/ 2250906 w 11269336"/>
              <a:gd name="connsiteY224" fmla="*/ 2055654 h 2323145"/>
              <a:gd name="connsiteX225" fmla="*/ 2236905 w 11269336"/>
              <a:gd name="connsiteY225" fmla="*/ 2062882 h 2323145"/>
              <a:gd name="connsiteX226" fmla="*/ 2225830 w 11269336"/>
              <a:gd name="connsiteY226" fmla="*/ 2074027 h 2323145"/>
              <a:gd name="connsiteX227" fmla="*/ 2073776 w 11269336"/>
              <a:gd name="connsiteY227" fmla="*/ 2089244 h 2323145"/>
              <a:gd name="connsiteX228" fmla="*/ 1948256 w 11269336"/>
              <a:gd name="connsiteY228" fmla="*/ 2146616 h 2323145"/>
              <a:gd name="connsiteX229" fmla="*/ 1865582 w 11269336"/>
              <a:gd name="connsiteY229" fmla="*/ 2153738 h 2323145"/>
              <a:gd name="connsiteX230" fmla="*/ 1835210 w 11269336"/>
              <a:gd name="connsiteY230" fmla="*/ 2134244 h 2323145"/>
              <a:gd name="connsiteX231" fmla="*/ 1632661 w 11269336"/>
              <a:gd name="connsiteY231" fmla="*/ 2173882 h 2323145"/>
              <a:gd name="connsiteX232" fmla="*/ 1579590 w 11269336"/>
              <a:gd name="connsiteY232" fmla="*/ 2173680 h 2323145"/>
              <a:gd name="connsiteX233" fmla="*/ 1535601 w 11269336"/>
              <a:gd name="connsiteY233" fmla="*/ 2194590 h 2323145"/>
              <a:gd name="connsiteX234" fmla="*/ 1515594 w 11269336"/>
              <a:gd name="connsiteY234" fmla="*/ 2189622 h 2323145"/>
              <a:gd name="connsiteX235" fmla="*/ 1512113 w 11269336"/>
              <a:gd name="connsiteY235" fmla="*/ 2188534 h 2323145"/>
              <a:gd name="connsiteX236" fmla="*/ 1498838 w 11269336"/>
              <a:gd name="connsiteY236" fmla="*/ 2189213 h 2323145"/>
              <a:gd name="connsiteX237" fmla="*/ 1494279 w 11269336"/>
              <a:gd name="connsiteY237" fmla="*/ 2183112 h 2323145"/>
              <a:gd name="connsiteX238" fmla="*/ 1473714 w 11269336"/>
              <a:gd name="connsiteY238" fmla="*/ 2179625 h 2323145"/>
              <a:gd name="connsiteX239" fmla="*/ 1449503 w 11269336"/>
              <a:gd name="connsiteY239" fmla="*/ 2182633 h 2323145"/>
              <a:gd name="connsiteX240" fmla="*/ 1266687 w 11269336"/>
              <a:gd name="connsiteY240" fmla="*/ 2212688 h 2323145"/>
              <a:gd name="connsiteX241" fmla="*/ 1239614 w 11269336"/>
              <a:gd name="connsiteY241" fmla="*/ 2209727 h 2323145"/>
              <a:gd name="connsiteX242" fmla="*/ 1202436 w 11269336"/>
              <a:gd name="connsiteY242" fmla="*/ 2209817 h 2323145"/>
              <a:gd name="connsiteX243" fmla="*/ 1136097 w 11269336"/>
              <a:gd name="connsiteY243" fmla="*/ 2205112 h 2323145"/>
              <a:gd name="connsiteX244" fmla="*/ 988232 w 11269336"/>
              <a:gd name="connsiteY244" fmla="*/ 2235635 h 2323145"/>
              <a:gd name="connsiteX245" fmla="*/ 981959 w 11269336"/>
              <a:gd name="connsiteY245" fmla="*/ 2231607 h 2323145"/>
              <a:gd name="connsiteX246" fmla="*/ 938600 w 11269336"/>
              <a:gd name="connsiteY246" fmla="*/ 2238113 h 2323145"/>
              <a:gd name="connsiteX247" fmla="*/ 791788 w 11269336"/>
              <a:gd name="connsiteY247" fmla="*/ 2293224 h 2323145"/>
              <a:gd name="connsiteX248" fmla="*/ 706914 w 11269336"/>
              <a:gd name="connsiteY248" fmla="*/ 2305046 h 2323145"/>
              <a:gd name="connsiteX249" fmla="*/ 675971 w 11269336"/>
              <a:gd name="connsiteY249" fmla="*/ 2304030 h 2323145"/>
              <a:gd name="connsiteX250" fmla="*/ 624180 w 11269336"/>
              <a:gd name="connsiteY250" fmla="*/ 2302650 h 2323145"/>
              <a:gd name="connsiteX251" fmla="*/ 583453 w 11269336"/>
              <a:gd name="connsiteY251" fmla="*/ 2288788 h 2323145"/>
              <a:gd name="connsiteX252" fmla="*/ 540946 w 11269336"/>
              <a:gd name="connsiteY252" fmla="*/ 2292721 h 2323145"/>
              <a:gd name="connsiteX253" fmla="*/ 533680 w 11269336"/>
              <a:gd name="connsiteY253" fmla="*/ 2310233 h 2323145"/>
              <a:gd name="connsiteX254" fmla="*/ 487366 w 11269336"/>
              <a:gd name="connsiteY254" fmla="*/ 2309053 h 2323145"/>
              <a:gd name="connsiteX255" fmla="*/ 416820 w 11269336"/>
              <a:gd name="connsiteY255" fmla="*/ 2305443 h 2323145"/>
              <a:gd name="connsiteX256" fmla="*/ 376805 w 11269336"/>
              <a:gd name="connsiteY256" fmla="*/ 2307647 h 2323145"/>
              <a:gd name="connsiteX257" fmla="*/ 266777 w 11269336"/>
              <a:gd name="connsiteY257" fmla="*/ 2309012 h 2323145"/>
              <a:gd name="connsiteX258" fmla="*/ 156013 w 11269336"/>
              <a:gd name="connsiteY258" fmla="*/ 2306832 h 2323145"/>
              <a:gd name="connsiteX259" fmla="*/ 87258 w 11269336"/>
              <a:gd name="connsiteY259" fmla="*/ 2285511 h 2323145"/>
              <a:gd name="connsiteX260" fmla="*/ 23798 w 11269336"/>
              <a:gd name="connsiteY260" fmla="*/ 2281822 h 2323145"/>
              <a:gd name="connsiteX261" fmla="*/ 0 w 11269336"/>
              <a:gd name="connsiteY261" fmla="*/ 2285369 h 2323145"/>
              <a:gd name="connsiteX262" fmla="*/ 0 w 11269336"/>
              <a:gd name="connsiteY26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702453 w 11269336"/>
              <a:gd name="connsiteY141" fmla="*/ 2151586 h 2323145"/>
              <a:gd name="connsiteX142" fmla="*/ 4678455 w 11269336"/>
              <a:gd name="connsiteY142" fmla="*/ 2156131 h 2323145"/>
              <a:gd name="connsiteX143" fmla="*/ 4593061 w 11269336"/>
              <a:gd name="connsiteY143" fmla="*/ 2171597 h 2323145"/>
              <a:gd name="connsiteX144" fmla="*/ 4533444 w 11269336"/>
              <a:gd name="connsiteY144" fmla="*/ 2181200 h 2323145"/>
              <a:gd name="connsiteX145" fmla="*/ 4492832 w 11269336"/>
              <a:gd name="connsiteY145" fmla="*/ 2188033 h 2323145"/>
              <a:gd name="connsiteX146" fmla="*/ 4467257 w 11269336"/>
              <a:gd name="connsiteY146" fmla="*/ 2196121 h 2323145"/>
              <a:gd name="connsiteX147" fmla="*/ 4459937 w 11269336"/>
              <a:gd name="connsiteY147" fmla="*/ 2195182 h 2323145"/>
              <a:gd name="connsiteX148" fmla="*/ 4433312 w 11269336"/>
              <a:gd name="connsiteY148" fmla="*/ 2199004 h 2323145"/>
              <a:gd name="connsiteX149" fmla="*/ 4420601 w 11269336"/>
              <a:gd name="connsiteY149" fmla="*/ 2205158 h 2323145"/>
              <a:gd name="connsiteX150" fmla="*/ 4405765 w 11269336"/>
              <a:gd name="connsiteY150" fmla="*/ 2199902 h 2323145"/>
              <a:gd name="connsiteX151" fmla="*/ 4401354 w 11269336"/>
              <a:gd name="connsiteY151" fmla="*/ 2194745 h 2323145"/>
              <a:gd name="connsiteX152" fmla="*/ 4383151 w 11269336"/>
              <a:gd name="connsiteY152" fmla="*/ 2201140 h 2323145"/>
              <a:gd name="connsiteX153" fmla="*/ 4366646 w 11269336"/>
              <a:gd name="connsiteY153" fmla="*/ 2198564 h 2323145"/>
              <a:gd name="connsiteX154" fmla="*/ 4354009 w 11269336"/>
              <a:gd name="connsiteY154" fmla="*/ 2204984 h 2323145"/>
              <a:gd name="connsiteX155" fmla="*/ 4348284 w 11269336"/>
              <a:gd name="connsiteY155" fmla="*/ 2205270 h 2323145"/>
              <a:gd name="connsiteX156" fmla="*/ 4333906 w 11269336"/>
              <a:gd name="connsiteY156" fmla="*/ 2205251 h 2323145"/>
              <a:gd name="connsiteX157" fmla="*/ 4308819 w 11269336"/>
              <a:gd name="connsiteY157" fmla="*/ 2203822 h 2323145"/>
              <a:gd name="connsiteX158" fmla="*/ 4301210 w 11269336"/>
              <a:gd name="connsiteY158" fmla="*/ 2204456 h 2323145"/>
              <a:gd name="connsiteX159" fmla="*/ 4283095 w 11269336"/>
              <a:gd name="connsiteY159" fmla="*/ 2198177 h 2323145"/>
              <a:gd name="connsiteX160" fmla="*/ 4250119 w 11269336"/>
              <a:gd name="connsiteY160" fmla="*/ 2196342 h 2323145"/>
              <a:gd name="connsiteX161" fmla="*/ 4189203 w 11269336"/>
              <a:gd name="connsiteY161" fmla="*/ 2178994 h 2323145"/>
              <a:gd name="connsiteX162" fmla="*/ 4154035 w 11269336"/>
              <a:gd name="connsiteY162" fmla="*/ 2171950 h 2323145"/>
              <a:gd name="connsiteX163" fmla="*/ 4129569 w 11269336"/>
              <a:gd name="connsiteY163" fmla="*/ 2163850 h 2323145"/>
              <a:gd name="connsiteX164" fmla="*/ 4061250 w 11269336"/>
              <a:gd name="connsiteY164" fmla="*/ 2159236 h 2323145"/>
              <a:gd name="connsiteX165" fmla="*/ 3945480 w 11269336"/>
              <a:gd name="connsiteY165" fmla="*/ 2158279 h 2323145"/>
              <a:gd name="connsiteX166" fmla="*/ 3921468 w 11269336"/>
              <a:gd name="connsiteY166" fmla="*/ 2156588 h 2323145"/>
              <a:gd name="connsiteX167" fmla="*/ 3903348 w 11269336"/>
              <a:gd name="connsiteY167" fmla="*/ 2149220 h 2323145"/>
              <a:gd name="connsiteX168" fmla="*/ 3901342 w 11269336"/>
              <a:gd name="connsiteY168" fmla="*/ 2142355 h 2323145"/>
              <a:gd name="connsiteX169" fmla="*/ 3888539 w 11269336"/>
              <a:gd name="connsiteY169" fmla="*/ 2140476 h 2323145"/>
              <a:gd name="connsiteX170" fmla="*/ 3885662 w 11269336"/>
              <a:gd name="connsiteY170" fmla="*/ 2138740 h 2323145"/>
              <a:gd name="connsiteX171" fmla="*/ 3868627 w 11269336"/>
              <a:gd name="connsiteY171" fmla="*/ 2130023 h 2323145"/>
              <a:gd name="connsiteX172" fmla="*/ 3819177 w 11269336"/>
              <a:gd name="connsiteY172" fmla="*/ 2142111 h 2323145"/>
              <a:gd name="connsiteX173" fmla="*/ 3769100 w 11269336"/>
              <a:gd name="connsiteY173" fmla="*/ 2131731 h 2323145"/>
              <a:gd name="connsiteX174" fmla="*/ 3562752 w 11269336"/>
              <a:gd name="connsiteY174" fmla="*/ 2131785 h 2323145"/>
              <a:gd name="connsiteX175" fmla="*/ 3541402 w 11269336"/>
              <a:gd name="connsiteY175" fmla="*/ 2106821 h 2323145"/>
              <a:gd name="connsiteX176" fmla="*/ 3365341 w 11269336"/>
              <a:gd name="connsiteY176" fmla="*/ 2077638 h 2323145"/>
              <a:gd name="connsiteX177" fmla="*/ 3170922 w 11269336"/>
              <a:gd name="connsiteY177" fmla="*/ 2115957 h 2323145"/>
              <a:gd name="connsiteX178" fmla="*/ 3156256 w 11269336"/>
              <a:gd name="connsiteY178" fmla="*/ 2124773 h 2323145"/>
              <a:gd name="connsiteX179" fmla="*/ 3140298 w 11269336"/>
              <a:gd name="connsiteY179" fmla="*/ 2129182 h 2323145"/>
              <a:gd name="connsiteX180" fmla="*/ 3138514 w 11269336"/>
              <a:gd name="connsiteY180" fmla="*/ 2128069 h 2323145"/>
              <a:gd name="connsiteX181" fmla="*/ 3120467 w 11269336"/>
              <a:gd name="connsiteY181" fmla="*/ 2128281 h 2323145"/>
              <a:gd name="connsiteX182" fmla="*/ 3116175 w 11269336"/>
              <a:gd name="connsiteY182" fmla="*/ 2131633 h 2323145"/>
              <a:gd name="connsiteX183" fmla="*/ 3103685 w 11269336"/>
              <a:gd name="connsiteY183" fmla="*/ 2132814 h 2323145"/>
              <a:gd name="connsiteX184" fmla="*/ 3078794 w 11269336"/>
              <a:gd name="connsiteY184" fmla="*/ 2137935 h 2323145"/>
              <a:gd name="connsiteX185" fmla="*/ 3074407 w 11269336"/>
              <a:gd name="connsiteY185" fmla="*/ 2136274 h 2323145"/>
              <a:gd name="connsiteX186" fmla="*/ 3037285 w 11269336"/>
              <a:gd name="connsiteY186" fmla="*/ 2139919 h 2323145"/>
              <a:gd name="connsiteX187" fmla="*/ 3036901 w 11269336"/>
              <a:gd name="connsiteY187" fmla="*/ 2138726 h 2323145"/>
              <a:gd name="connsiteX188" fmla="*/ 3026996 w 11269336"/>
              <a:gd name="connsiteY188" fmla="*/ 2134322 h 2323145"/>
              <a:gd name="connsiteX189" fmla="*/ 3007772 w 11269336"/>
              <a:gd name="connsiteY189" fmla="*/ 2128742 h 2323145"/>
              <a:gd name="connsiteX190" fmla="*/ 2965030 w 11269336"/>
              <a:gd name="connsiteY190" fmla="*/ 2100494 h 2323145"/>
              <a:gd name="connsiteX191" fmla="*/ 2926342 w 11269336"/>
              <a:gd name="connsiteY191" fmla="*/ 2104155 h 2323145"/>
              <a:gd name="connsiteX192" fmla="*/ 2918608 w 11269336"/>
              <a:gd name="connsiteY192" fmla="*/ 2104215 h 2323145"/>
              <a:gd name="connsiteX193" fmla="*/ 2918475 w 11269336"/>
              <a:gd name="connsiteY193" fmla="*/ 2103937 h 2323145"/>
              <a:gd name="connsiteX194" fmla="*/ 2910360 w 11269336"/>
              <a:gd name="connsiteY194" fmla="*/ 2103444 h 2323145"/>
              <a:gd name="connsiteX195" fmla="*/ 2904507 w 11269336"/>
              <a:gd name="connsiteY195" fmla="*/ 2104326 h 2323145"/>
              <a:gd name="connsiteX196" fmla="*/ 2889503 w 11269336"/>
              <a:gd name="connsiteY196" fmla="*/ 2104443 h 2323145"/>
              <a:gd name="connsiteX197" fmla="*/ 2884480 w 11269336"/>
              <a:gd name="connsiteY197" fmla="*/ 2102626 h 2323145"/>
              <a:gd name="connsiteX198" fmla="*/ 2882689 w 11269336"/>
              <a:gd name="connsiteY198" fmla="*/ 2099228 h 2323145"/>
              <a:gd name="connsiteX199" fmla="*/ 2881291 w 11269336"/>
              <a:gd name="connsiteY199" fmla="*/ 2099618 h 2323145"/>
              <a:gd name="connsiteX200" fmla="*/ 2853979 w 11269336"/>
              <a:gd name="connsiteY200" fmla="*/ 2090388 h 2323145"/>
              <a:gd name="connsiteX201" fmla="*/ 2791790 w 11269336"/>
              <a:gd name="connsiteY201" fmla="*/ 2080332 h 2323145"/>
              <a:gd name="connsiteX202" fmla="*/ 2755844 w 11269336"/>
              <a:gd name="connsiteY202" fmla="*/ 2078874 h 2323145"/>
              <a:gd name="connsiteX203" fmla="*/ 2657742 w 11269336"/>
              <a:gd name="connsiteY203" fmla="*/ 2070179 h 2323145"/>
              <a:gd name="connsiteX204" fmla="*/ 2559549 w 11269336"/>
              <a:gd name="connsiteY204" fmla="*/ 2057873 h 2323145"/>
              <a:gd name="connsiteX205" fmla="*/ 2512054 w 11269336"/>
              <a:gd name="connsiteY205" fmla="*/ 2031671 h 2323145"/>
              <a:gd name="connsiteX206" fmla="*/ 2506437 w 11269336"/>
              <a:gd name="connsiteY206" fmla="*/ 2030918 h 2323145"/>
              <a:gd name="connsiteX207" fmla="*/ 2491752 w 11269336"/>
              <a:gd name="connsiteY207" fmla="*/ 2033906 h 2323145"/>
              <a:gd name="connsiteX208" fmla="*/ 2486338 w 11269336"/>
              <a:gd name="connsiteY208" fmla="*/ 2035862 h 2323145"/>
              <a:gd name="connsiteX209" fmla="*/ 2478186 w 11269336"/>
              <a:gd name="connsiteY209" fmla="*/ 2036953 h 2323145"/>
              <a:gd name="connsiteX210" fmla="*/ 2477950 w 11269336"/>
              <a:gd name="connsiteY210" fmla="*/ 2036715 h 2323145"/>
              <a:gd name="connsiteX211" fmla="*/ 2470381 w 11269336"/>
              <a:gd name="connsiteY211" fmla="*/ 2038256 h 2323145"/>
              <a:gd name="connsiteX212" fmla="*/ 2433781 w 11269336"/>
              <a:gd name="connsiteY212" fmla="*/ 2049140 h 2323145"/>
              <a:gd name="connsiteX213" fmla="*/ 2381172 w 11269336"/>
              <a:gd name="connsiteY213" fmla="*/ 2030645 h 2323145"/>
              <a:gd name="connsiteX214" fmla="*/ 2360198 w 11269336"/>
              <a:gd name="connsiteY214" fmla="*/ 2029059 h 2323145"/>
              <a:gd name="connsiteX215" fmla="*/ 2348815 w 11269336"/>
              <a:gd name="connsiteY215" fmla="*/ 2026798 h 2323145"/>
              <a:gd name="connsiteX216" fmla="*/ 2347988 w 11269336"/>
              <a:gd name="connsiteY216" fmla="*/ 2025745 h 2323145"/>
              <a:gd name="connsiteX217" fmla="*/ 2312920 w 11269336"/>
              <a:gd name="connsiteY217" fmla="*/ 2036311 h 2323145"/>
              <a:gd name="connsiteX218" fmla="*/ 2307986 w 11269336"/>
              <a:gd name="connsiteY218" fmla="*/ 2035583 h 2323145"/>
              <a:gd name="connsiteX219" fmla="*/ 2285481 w 11269336"/>
              <a:gd name="connsiteY219" fmla="*/ 2045197 h 2323145"/>
              <a:gd name="connsiteX220" fmla="*/ 2273666 w 11269336"/>
              <a:gd name="connsiteY220" fmla="*/ 2048710 h 2323145"/>
              <a:gd name="connsiteX221" fmla="*/ 2270719 w 11269336"/>
              <a:gd name="connsiteY221" fmla="*/ 2052702 h 2323145"/>
              <a:gd name="connsiteX222" fmla="*/ 2253080 w 11269336"/>
              <a:gd name="connsiteY222" fmla="*/ 2056363 h 2323145"/>
              <a:gd name="connsiteX223" fmla="*/ 2250906 w 11269336"/>
              <a:gd name="connsiteY223" fmla="*/ 2055654 h 2323145"/>
              <a:gd name="connsiteX224" fmla="*/ 2236905 w 11269336"/>
              <a:gd name="connsiteY224" fmla="*/ 2062882 h 2323145"/>
              <a:gd name="connsiteX225" fmla="*/ 2225830 w 11269336"/>
              <a:gd name="connsiteY225" fmla="*/ 2074027 h 2323145"/>
              <a:gd name="connsiteX226" fmla="*/ 2073776 w 11269336"/>
              <a:gd name="connsiteY226" fmla="*/ 2089244 h 2323145"/>
              <a:gd name="connsiteX227" fmla="*/ 1948256 w 11269336"/>
              <a:gd name="connsiteY227" fmla="*/ 2146616 h 2323145"/>
              <a:gd name="connsiteX228" fmla="*/ 1865582 w 11269336"/>
              <a:gd name="connsiteY228" fmla="*/ 2153738 h 2323145"/>
              <a:gd name="connsiteX229" fmla="*/ 1835210 w 11269336"/>
              <a:gd name="connsiteY229" fmla="*/ 2134244 h 2323145"/>
              <a:gd name="connsiteX230" fmla="*/ 1632661 w 11269336"/>
              <a:gd name="connsiteY230" fmla="*/ 2173882 h 2323145"/>
              <a:gd name="connsiteX231" fmla="*/ 1579590 w 11269336"/>
              <a:gd name="connsiteY231" fmla="*/ 2173680 h 2323145"/>
              <a:gd name="connsiteX232" fmla="*/ 1535601 w 11269336"/>
              <a:gd name="connsiteY232" fmla="*/ 2194590 h 2323145"/>
              <a:gd name="connsiteX233" fmla="*/ 1515594 w 11269336"/>
              <a:gd name="connsiteY233" fmla="*/ 2189622 h 2323145"/>
              <a:gd name="connsiteX234" fmla="*/ 1512113 w 11269336"/>
              <a:gd name="connsiteY234" fmla="*/ 2188534 h 2323145"/>
              <a:gd name="connsiteX235" fmla="*/ 1498838 w 11269336"/>
              <a:gd name="connsiteY235" fmla="*/ 2189213 h 2323145"/>
              <a:gd name="connsiteX236" fmla="*/ 1494279 w 11269336"/>
              <a:gd name="connsiteY236" fmla="*/ 2183112 h 2323145"/>
              <a:gd name="connsiteX237" fmla="*/ 1473714 w 11269336"/>
              <a:gd name="connsiteY237" fmla="*/ 2179625 h 2323145"/>
              <a:gd name="connsiteX238" fmla="*/ 1449503 w 11269336"/>
              <a:gd name="connsiteY238" fmla="*/ 2182633 h 2323145"/>
              <a:gd name="connsiteX239" fmla="*/ 1266687 w 11269336"/>
              <a:gd name="connsiteY239" fmla="*/ 2212688 h 2323145"/>
              <a:gd name="connsiteX240" fmla="*/ 1239614 w 11269336"/>
              <a:gd name="connsiteY240" fmla="*/ 2209727 h 2323145"/>
              <a:gd name="connsiteX241" fmla="*/ 1202436 w 11269336"/>
              <a:gd name="connsiteY241" fmla="*/ 2209817 h 2323145"/>
              <a:gd name="connsiteX242" fmla="*/ 1136097 w 11269336"/>
              <a:gd name="connsiteY242" fmla="*/ 2205112 h 2323145"/>
              <a:gd name="connsiteX243" fmla="*/ 988232 w 11269336"/>
              <a:gd name="connsiteY243" fmla="*/ 2235635 h 2323145"/>
              <a:gd name="connsiteX244" fmla="*/ 981959 w 11269336"/>
              <a:gd name="connsiteY244" fmla="*/ 2231607 h 2323145"/>
              <a:gd name="connsiteX245" fmla="*/ 938600 w 11269336"/>
              <a:gd name="connsiteY245" fmla="*/ 2238113 h 2323145"/>
              <a:gd name="connsiteX246" fmla="*/ 791788 w 11269336"/>
              <a:gd name="connsiteY246" fmla="*/ 2293224 h 2323145"/>
              <a:gd name="connsiteX247" fmla="*/ 706914 w 11269336"/>
              <a:gd name="connsiteY247" fmla="*/ 2305046 h 2323145"/>
              <a:gd name="connsiteX248" fmla="*/ 675971 w 11269336"/>
              <a:gd name="connsiteY248" fmla="*/ 2304030 h 2323145"/>
              <a:gd name="connsiteX249" fmla="*/ 624180 w 11269336"/>
              <a:gd name="connsiteY249" fmla="*/ 2302650 h 2323145"/>
              <a:gd name="connsiteX250" fmla="*/ 583453 w 11269336"/>
              <a:gd name="connsiteY250" fmla="*/ 2288788 h 2323145"/>
              <a:gd name="connsiteX251" fmla="*/ 540946 w 11269336"/>
              <a:gd name="connsiteY251" fmla="*/ 2292721 h 2323145"/>
              <a:gd name="connsiteX252" fmla="*/ 533680 w 11269336"/>
              <a:gd name="connsiteY252" fmla="*/ 2310233 h 2323145"/>
              <a:gd name="connsiteX253" fmla="*/ 487366 w 11269336"/>
              <a:gd name="connsiteY253" fmla="*/ 2309053 h 2323145"/>
              <a:gd name="connsiteX254" fmla="*/ 416820 w 11269336"/>
              <a:gd name="connsiteY254" fmla="*/ 2305443 h 2323145"/>
              <a:gd name="connsiteX255" fmla="*/ 376805 w 11269336"/>
              <a:gd name="connsiteY255" fmla="*/ 2307647 h 2323145"/>
              <a:gd name="connsiteX256" fmla="*/ 266777 w 11269336"/>
              <a:gd name="connsiteY256" fmla="*/ 2309012 h 2323145"/>
              <a:gd name="connsiteX257" fmla="*/ 156013 w 11269336"/>
              <a:gd name="connsiteY257" fmla="*/ 2306832 h 2323145"/>
              <a:gd name="connsiteX258" fmla="*/ 87258 w 11269336"/>
              <a:gd name="connsiteY258" fmla="*/ 2285511 h 2323145"/>
              <a:gd name="connsiteX259" fmla="*/ 23798 w 11269336"/>
              <a:gd name="connsiteY259" fmla="*/ 2281822 h 2323145"/>
              <a:gd name="connsiteX260" fmla="*/ 0 w 11269336"/>
              <a:gd name="connsiteY260" fmla="*/ 2285369 h 2323145"/>
              <a:gd name="connsiteX261" fmla="*/ 0 w 11269336"/>
              <a:gd name="connsiteY261"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702453 w 11269336"/>
              <a:gd name="connsiteY141" fmla="*/ 2151586 h 2323145"/>
              <a:gd name="connsiteX142" fmla="*/ 4593061 w 11269336"/>
              <a:gd name="connsiteY142" fmla="*/ 2171597 h 2323145"/>
              <a:gd name="connsiteX143" fmla="*/ 4533444 w 11269336"/>
              <a:gd name="connsiteY143" fmla="*/ 2181200 h 2323145"/>
              <a:gd name="connsiteX144" fmla="*/ 4492832 w 11269336"/>
              <a:gd name="connsiteY144" fmla="*/ 2188033 h 2323145"/>
              <a:gd name="connsiteX145" fmla="*/ 4467257 w 11269336"/>
              <a:gd name="connsiteY145" fmla="*/ 2196121 h 2323145"/>
              <a:gd name="connsiteX146" fmla="*/ 4459937 w 11269336"/>
              <a:gd name="connsiteY146" fmla="*/ 2195182 h 2323145"/>
              <a:gd name="connsiteX147" fmla="*/ 4433312 w 11269336"/>
              <a:gd name="connsiteY147" fmla="*/ 2199004 h 2323145"/>
              <a:gd name="connsiteX148" fmla="*/ 4420601 w 11269336"/>
              <a:gd name="connsiteY148" fmla="*/ 2205158 h 2323145"/>
              <a:gd name="connsiteX149" fmla="*/ 4405765 w 11269336"/>
              <a:gd name="connsiteY149" fmla="*/ 2199902 h 2323145"/>
              <a:gd name="connsiteX150" fmla="*/ 4401354 w 11269336"/>
              <a:gd name="connsiteY150" fmla="*/ 2194745 h 2323145"/>
              <a:gd name="connsiteX151" fmla="*/ 4383151 w 11269336"/>
              <a:gd name="connsiteY151" fmla="*/ 2201140 h 2323145"/>
              <a:gd name="connsiteX152" fmla="*/ 4366646 w 11269336"/>
              <a:gd name="connsiteY152" fmla="*/ 2198564 h 2323145"/>
              <a:gd name="connsiteX153" fmla="*/ 4354009 w 11269336"/>
              <a:gd name="connsiteY153" fmla="*/ 2204984 h 2323145"/>
              <a:gd name="connsiteX154" fmla="*/ 4348284 w 11269336"/>
              <a:gd name="connsiteY154" fmla="*/ 2205270 h 2323145"/>
              <a:gd name="connsiteX155" fmla="*/ 4333906 w 11269336"/>
              <a:gd name="connsiteY155" fmla="*/ 2205251 h 2323145"/>
              <a:gd name="connsiteX156" fmla="*/ 4308819 w 11269336"/>
              <a:gd name="connsiteY156" fmla="*/ 2203822 h 2323145"/>
              <a:gd name="connsiteX157" fmla="*/ 4301210 w 11269336"/>
              <a:gd name="connsiteY157" fmla="*/ 2204456 h 2323145"/>
              <a:gd name="connsiteX158" fmla="*/ 4283095 w 11269336"/>
              <a:gd name="connsiteY158" fmla="*/ 2198177 h 2323145"/>
              <a:gd name="connsiteX159" fmla="*/ 4250119 w 11269336"/>
              <a:gd name="connsiteY159" fmla="*/ 2196342 h 2323145"/>
              <a:gd name="connsiteX160" fmla="*/ 4189203 w 11269336"/>
              <a:gd name="connsiteY160" fmla="*/ 2178994 h 2323145"/>
              <a:gd name="connsiteX161" fmla="*/ 4154035 w 11269336"/>
              <a:gd name="connsiteY161" fmla="*/ 2171950 h 2323145"/>
              <a:gd name="connsiteX162" fmla="*/ 4129569 w 11269336"/>
              <a:gd name="connsiteY162" fmla="*/ 2163850 h 2323145"/>
              <a:gd name="connsiteX163" fmla="*/ 4061250 w 11269336"/>
              <a:gd name="connsiteY163" fmla="*/ 2159236 h 2323145"/>
              <a:gd name="connsiteX164" fmla="*/ 3945480 w 11269336"/>
              <a:gd name="connsiteY164" fmla="*/ 2158279 h 2323145"/>
              <a:gd name="connsiteX165" fmla="*/ 3921468 w 11269336"/>
              <a:gd name="connsiteY165" fmla="*/ 2156588 h 2323145"/>
              <a:gd name="connsiteX166" fmla="*/ 3903348 w 11269336"/>
              <a:gd name="connsiteY166" fmla="*/ 2149220 h 2323145"/>
              <a:gd name="connsiteX167" fmla="*/ 3901342 w 11269336"/>
              <a:gd name="connsiteY167" fmla="*/ 2142355 h 2323145"/>
              <a:gd name="connsiteX168" fmla="*/ 3888539 w 11269336"/>
              <a:gd name="connsiteY168" fmla="*/ 2140476 h 2323145"/>
              <a:gd name="connsiteX169" fmla="*/ 3885662 w 11269336"/>
              <a:gd name="connsiteY169" fmla="*/ 2138740 h 2323145"/>
              <a:gd name="connsiteX170" fmla="*/ 3868627 w 11269336"/>
              <a:gd name="connsiteY170" fmla="*/ 2130023 h 2323145"/>
              <a:gd name="connsiteX171" fmla="*/ 3819177 w 11269336"/>
              <a:gd name="connsiteY171" fmla="*/ 2142111 h 2323145"/>
              <a:gd name="connsiteX172" fmla="*/ 3769100 w 11269336"/>
              <a:gd name="connsiteY172" fmla="*/ 2131731 h 2323145"/>
              <a:gd name="connsiteX173" fmla="*/ 3562752 w 11269336"/>
              <a:gd name="connsiteY173" fmla="*/ 2131785 h 2323145"/>
              <a:gd name="connsiteX174" fmla="*/ 3541402 w 11269336"/>
              <a:gd name="connsiteY174" fmla="*/ 2106821 h 2323145"/>
              <a:gd name="connsiteX175" fmla="*/ 3365341 w 11269336"/>
              <a:gd name="connsiteY175" fmla="*/ 2077638 h 2323145"/>
              <a:gd name="connsiteX176" fmla="*/ 3170922 w 11269336"/>
              <a:gd name="connsiteY176" fmla="*/ 2115957 h 2323145"/>
              <a:gd name="connsiteX177" fmla="*/ 3156256 w 11269336"/>
              <a:gd name="connsiteY177" fmla="*/ 2124773 h 2323145"/>
              <a:gd name="connsiteX178" fmla="*/ 3140298 w 11269336"/>
              <a:gd name="connsiteY178" fmla="*/ 2129182 h 2323145"/>
              <a:gd name="connsiteX179" fmla="*/ 3138514 w 11269336"/>
              <a:gd name="connsiteY179" fmla="*/ 2128069 h 2323145"/>
              <a:gd name="connsiteX180" fmla="*/ 3120467 w 11269336"/>
              <a:gd name="connsiteY180" fmla="*/ 2128281 h 2323145"/>
              <a:gd name="connsiteX181" fmla="*/ 3116175 w 11269336"/>
              <a:gd name="connsiteY181" fmla="*/ 2131633 h 2323145"/>
              <a:gd name="connsiteX182" fmla="*/ 3103685 w 11269336"/>
              <a:gd name="connsiteY182" fmla="*/ 2132814 h 2323145"/>
              <a:gd name="connsiteX183" fmla="*/ 3078794 w 11269336"/>
              <a:gd name="connsiteY183" fmla="*/ 2137935 h 2323145"/>
              <a:gd name="connsiteX184" fmla="*/ 3074407 w 11269336"/>
              <a:gd name="connsiteY184" fmla="*/ 2136274 h 2323145"/>
              <a:gd name="connsiteX185" fmla="*/ 3037285 w 11269336"/>
              <a:gd name="connsiteY185" fmla="*/ 2139919 h 2323145"/>
              <a:gd name="connsiteX186" fmla="*/ 3036901 w 11269336"/>
              <a:gd name="connsiteY186" fmla="*/ 2138726 h 2323145"/>
              <a:gd name="connsiteX187" fmla="*/ 3026996 w 11269336"/>
              <a:gd name="connsiteY187" fmla="*/ 2134322 h 2323145"/>
              <a:gd name="connsiteX188" fmla="*/ 3007772 w 11269336"/>
              <a:gd name="connsiteY188" fmla="*/ 2128742 h 2323145"/>
              <a:gd name="connsiteX189" fmla="*/ 2965030 w 11269336"/>
              <a:gd name="connsiteY189" fmla="*/ 2100494 h 2323145"/>
              <a:gd name="connsiteX190" fmla="*/ 2926342 w 11269336"/>
              <a:gd name="connsiteY190" fmla="*/ 2104155 h 2323145"/>
              <a:gd name="connsiteX191" fmla="*/ 2918608 w 11269336"/>
              <a:gd name="connsiteY191" fmla="*/ 2104215 h 2323145"/>
              <a:gd name="connsiteX192" fmla="*/ 2918475 w 11269336"/>
              <a:gd name="connsiteY192" fmla="*/ 2103937 h 2323145"/>
              <a:gd name="connsiteX193" fmla="*/ 2910360 w 11269336"/>
              <a:gd name="connsiteY193" fmla="*/ 2103444 h 2323145"/>
              <a:gd name="connsiteX194" fmla="*/ 2904507 w 11269336"/>
              <a:gd name="connsiteY194" fmla="*/ 2104326 h 2323145"/>
              <a:gd name="connsiteX195" fmla="*/ 2889503 w 11269336"/>
              <a:gd name="connsiteY195" fmla="*/ 2104443 h 2323145"/>
              <a:gd name="connsiteX196" fmla="*/ 2884480 w 11269336"/>
              <a:gd name="connsiteY196" fmla="*/ 2102626 h 2323145"/>
              <a:gd name="connsiteX197" fmla="*/ 2882689 w 11269336"/>
              <a:gd name="connsiteY197" fmla="*/ 2099228 h 2323145"/>
              <a:gd name="connsiteX198" fmla="*/ 2881291 w 11269336"/>
              <a:gd name="connsiteY198" fmla="*/ 2099618 h 2323145"/>
              <a:gd name="connsiteX199" fmla="*/ 2853979 w 11269336"/>
              <a:gd name="connsiteY199" fmla="*/ 2090388 h 2323145"/>
              <a:gd name="connsiteX200" fmla="*/ 2791790 w 11269336"/>
              <a:gd name="connsiteY200" fmla="*/ 2080332 h 2323145"/>
              <a:gd name="connsiteX201" fmla="*/ 2755844 w 11269336"/>
              <a:gd name="connsiteY201" fmla="*/ 2078874 h 2323145"/>
              <a:gd name="connsiteX202" fmla="*/ 2657742 w 11269336"/>
              <a:gd name="connsiteY202" fmla="*/ 2070179 h 2323145"/>
              <a:gd name="connsiteX203" fmla="*/ 2559549 w 11269336"/>
              <a:gd name="connsiteY203" fmla="*/ 2057873 h 2323145"/>
              <a:gd name="connsiteX204" fmla="*/ 2512054 w 11269336"/>
              <a:gd name="connsiteY204" fmla="*/ 2031671 h 2323145"/>
              <a:gd name="connsiteX205" fmla="*/ 2506437 w 11269336"/>
              <a:gd name="connsiteY205" fmla="*/ 2030918 h 2323145"/>
              <a:gd name="connsiteX206" fmla="*/ 2491752 w 11269336"/>
              <a:gd name="connsiteY206" fmla="*/ 2033906 h 2323145"/>
              <a:gd name="connsiteX207" fmla="*/ 2486338 w 11269336"/>
              <a:gd name="connsiteY207" fmla="*/ 2035862 h 2323145"/>
              <a:gd name="connsiteX208" fmla="*/ 2478186 w 11269336"/>
              <a:gd name="connsiteY208" fmla="*/ 2036953 h 2323145"/>
              <a:gd name="connsiteX209" fmla="*/ 2477950 w 11269336"/>
              <a:gd name="connsiteY209" fmla="*/ 2036715 h 2323145"/>
              <a:gd name="connsiteX210" fmla="*/ 2470381 w 11269336"/>
              <a:gd name="connsiteY210" fmla="*/ 2038256 h 2323145"/>
              <a:gd name="connsiteX211" fmla="*/ 2433781 w 11269336"/>
              <a:gd name="connsiteY211" fmla="*/ 2049140 h 2323145"/>
              <a:gd name="connsiteX212" fmla="*/ 2381172 w 11269336"/>
              <a:gd name="connsiteY212" fmla="*/ 2030645 h 2323145"/>
              <a:gd name="connsiteX213" fmla="*/ 2360198 w 11269336"/>
              <a:gd name="connsiteY213" fmla="*/ 2029059 h 2323145"/>
              <a:gd name="connsiteX214" fmla="*/ 2348815 w 11269336"/>
              <a:gd name="connsiteY214" fmla="*/ 2026798 h 2323145"/>
              <a:gd name="connsiteX215" fmla="*/ 2347988 w 11269336"/>
              <a:gd name="connsiteY215" fmla="*/ 2025745 h 2323145"/>
              <a:gd name="connsiteX216" fmla="*/ 2312920 w 11269336"/>
              <a:gd name="connsiteY216" fmla="*/ 2036311 h 2323145"/>
              <a:gd name="connsiteX217" fmla="*/ 2307986 w 11269336"/>
              <a:gd name="connsiteY217" fmla="*/ 2035583 h 2323145"/>
              <a:gd name="connsiteX218" fmla="*/ 2285481 w 11269336"/>
              <a:gd name="connsiteY218" fmla="*/ 2045197 h 2323145"/>
              <a:gd name="connsiteX219" fmla="*/ 2273666 w 11269336"/>
              <a:gd name="connsiteY219" fmla="*/ 2048710 h 2323145"/>
              <a:gd name="connsiteX220" fmla="*/ 2270719 w 11269336"/>
              <a:gd name="connsiteY220" fmla="*/ 2052702 h 2323145"/>
              <a:gd name="connsiteX221" fmla="*/ 2253080 w 11269336"/>
              <a:gd name="connsiteY221" fmla="*/ 2056363 h 2323145"/>
              <a:gd name="connsiteX222" fmla="*/ 2250906 w 11269336"/>
              <a:gd name="connsiteY222" fmla="*/ 2055654 h 2323145"/>
              <a:gd name="connsiteX223" fmla="*/ 2236905 w 11269336"/>
              <a:gd name="connsiteY223" fmla="*/ 2062882 h 2323145"/>
              <a:gd name="connsiteX224" fmla="*/ 2225830 w 11269336"/>
              <a:gd name="connsiteY224" fmla="*/ 2074027 h 2323145"/>
              <a:gd name="connsiteX225" fmla="*/ 2073776 w 11269336"/>
              <a:gd name="connsiteY225" fmla="*/ 2089244 h 2323145"/>
              <a:gd name="connsiteX226" fmla="*/ 1948256 w 11269336"/>
              <a:gd name="connsiteY226" fmla="*/ 2146616 h 2323145"/>
              <a:gd name="connsiteX227" fmla="*/ 1865582 w 11269336"/>
              <a:gd name="connsiteY227" fmla="*/ 2153738 h 2323145"/>
              <a:gd name="connsiteX228" fmla="*/ 1835210 w 11269336"/>
              <a:gd name="connsiteY228" fmla="*/ 2134244 h 2323145"/>
              <a:gd name="connsiteX229" fmla="*/ 1632661 w 11269336"/>
              <a:gd name="connsiteY229" fmla="*/ 2173882 h 2323145"/>
              <a:gd name="connsiteX230" fmla="*/ 1579590 w 11269336"/>
              <a:gd name="connsiteY230" fmla="*/ 2173680 h 2323145"/>
              <a:gd name="connsiteX231" fmla="*/ 1535601 w 11269336"/>
              <a:gd name="connsiteY231" fmla="*/ 2194590 h 2323145"/>
              <a:gd name="connsiteX232" fmla="*/ 1515594 w 11269336"/>
              <a:gd name="connsiteY232" fmla="*/ 2189622 h 2323145"/>
              <a:gd name="connsiteX233" fmla="*/ 1512113 w 11269336"/>
              <a:gd name="connsiteY233" fmla="*/ 2188534 h 2323145"/>
              <a:gd name="connsiteX234" fmla="*/ 1498838 w 11269336"/>
              <a:gd name="connsiteY234" fmla="*/ 2189213 h 2323145"/>
              <a:gd name="connsiteX235" fmla="*/ 1494279 w 11269336"/>
              <a:gd name="connsiteY235" fmla="*/ 2183112 h 2323145"/>
              <a:gd name="connsiteX236" fmla="*/ 1473714 w 11269336"/>
              <a:gd name="connsiteY236" fmla="*/ 2179625 h 2323145"/>
              <a:gd name="connsiteX237" fmla="*/ 1449503 w 11269336"/>
              <a:gd name="connsiteY237" fmla="*/ 2182633 h 2323145"/>
              <a:gd name="connsiteX238" fmla="*/ 1266687 w 11269336"/>
              <a:gd name="connsiteY238" fmla="*/ 2212688 h 2323145"/>
              <a:gd name="connsiteX239" fmla="*/ 1239614 w 11269336"/>
              <a:gd name="connsiteY239" fmla="*/ 2209727 h 2323145"/>
              <a:gd name="connsiteX240" fmla="*/ 1202436 w 11269336"/>
              <a:gd name="connsiteY240" fmla="*/ 2209817 h 2323145"/>
              <a:gd name="connsiteX241" fmla="*/ 1136097 w 11269336"/>
              <a:gd name="connsiteY241" fmla="*/ 2205112 h 2323145"/>
              <a:gd name="connsiteX242" fmla="*/ 988232 w 11269336"/>
              <a:gd name="connsiteY242" fmla="*/ 2235635 h 2323145"/>
              <a:gd name="connsiteX243" fmla="*/ 981959 w 11269336"/>
              <a:gd name="connsiteY243" fmla="*/ 2231607 h 2323145"/>
              <a:gd name="connsiteX244" fmla="*/ 938600 w 11269336"/>
              <a:gd name="connsiteY244" fmla="*/ 2238113 h 2323145"/>
              <a:gd name="connsiteX245" fmla="*/ 791788 w 11269336"/>
              <a:gd name="connsiteY245" fmla="*/ 2293224 h 2323145"/>
              <a:gd name="connsiteX246" fmla="*/ 706914 w 11269336"/>
              <a:gd name="connsiteY246" fmla="*/ 2305046 h 2323145"/>
              <a:gd name="connsiteX247" fmla="*/ 675971 w 11269336"/>
              <a:gd name="connsiteY247" fmla="*/ 2304030 h 2323145"/>
              <a:gd name="connsiteX248" fmla="*/ 624180 w 11269336"/>
              <a:gd name="connsiteY248" fmla="*/ 2302650 h 2323145"/>
              <a:gd name="connsiteX249" fmla="*/ 583453 w 11269336"/>
              <a:gd name="connsiteY249" fmla="*/ 2288788 h 2323145"/>
              <a:gd name="connsiteX250" fmla="*/ 540946 w 11269336"/>
              <a:gd name="connsiteY250" fmla="*/ 2292721 h 2323145"/>
              <a:gd name="connsiteX251" fmla="*/ 533680 w 11269336"/>
              <a:gd name="connsiteY251" fmla="*/ 2310233 h 2323145"/>
              <a:gd name="connsiteX252" fmla="*/ 487366 w 11269336"/>
              <a:gd name="connsiteY252" fmla="*/ 2309053 h 2323145"/>
              <a:gd name="connsiteX253" fmla="*/ 416820 w 11269336"/>
              <a:gd name="connsiteY253" fmla="*/ 2305443 h 2323145"/>
              <a:gd name="connsiteX254" fmla="*/ 376805 w 11269336"/>
              <a:gd name="connsiteY254" fmla="*/ 2307647 h 2323145"/>
              <a:gd name="connsiteX255" fmla="*/ 266777 w 11269336"/>
              <a:gd name="connsiteY255" fmla="*/ 2309012 h 2323145"/>
              <a:gd name="connsiteX256" fmla="*/ 156013 w 11269336"/>
              <a:gd name="connsiteY256" fmla="*/ 2306832 h 2323145"/>
              <a:gd name="connsiteX257" fmla="*/ 87258 w 11269336"/>
              <a:gd name="connsiteY257" fmla="*/ 2285511 h 2323145"/>
              <a:gd name="connsiteX258" fmla="*/ 23798 w 11269336"/>
              <a:gd name="connsiteY258" fmla="*/ 2281822 h 2323145"/>
              <a:gd name="connsiteX259" fmla="*/ 0 w 11269336"/>
              <a:gd name="connsiteY259" fmla="*/ 2285369 h 2323145"/>
              <a:gd name="connsiteX260" fmla="*/ 0 w 11269336"/>
              <a:gd name="connsiteY260"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807902 w 11269336"/>
              <a:gd name="connsiteY135" fmla="*/ 2138894 h 2323145"/>
              <a:gd name="connsiteX136" fmla="*/ 4765388 w 11269336"/>
              <a:gd name="connsiteY136" fmla="*/ 2162525 h 2323145"/>
              <a:gd name="connsiteX137" fmla="*/ 4745033 w 11269336"/>
              <a:gd name="connsiteY137" fmla="*/ 2158859 h 2323145"/>
              <a:gd name="connsiteX138" fmla="*/ 4741475 w 11269336"/>
              <a:gd name="connsiteY138" fmla="*/ 2157998 h 2323145"/>
              <a:gd name="connsiteX139" fmla="*/ 4728247 w 11269336"/>
              <a:gd name="connsiteY139" fmla="*/ 2159526 h 2323145"/>
              <a:gd name="connsiteX140" fmla="*/ 4723263 w 11269336"/>
              <a:gd name="connsiteY140" fmla="*/ 2153742 h 2323145"/>
              <a:gd name="connsiteX141" fmla="*/ 4593061 w 11269336"/>
              <a:gd name="connsiteY141" fmla="*/ 2171597 h 2323145"/>
              <a:gd name="connsiteX142" fmla="*/ 4533444 w 11269336"/>
              <a:gd name="connsiteY142" fmla="*/ 2181200 h 2323145"/>
              <a:gd name="connsiteX143" fmla="*/ 4492832 w 11269336"/>
              <a:gd name="connsiteY143" fmla="*/ 2188033 h 2323145"/>
              <a:gd name="connsiteX144" fmla="*/ 4467257 w 11269336"/>
              <a:gd name="connsiteY144" fmla="*/ 2196121 h 2323145"/>
              <a:gd name="connsiteX145" fmla="*/ 4459937 w 11269336"/>
              <a:gd name="connsiteY145" fmla="*/ 2195182 h 2323145"/>
              <a:gd name="connsiteX146" fmla="*/ 4433312 w 11269336"/>
              <a:gd name="connsiteY146" fmla="*/ 2199004 h 2323145"/>
              <a:gd name="connsiteX147" fmla="*/ 4420601 w 11269336"/>
              <a:gd name="connsiteY147" fmla="*/ 2205158 h 2323145"/>
              <a:gd name="connsiteX148" fmla="*/ 4405765 w 11269336"/>
              <a:gd name="connsiteY148" fmla="*/ 2199902 h 2323145"/>
              <a:gd name="connsiteX149" fmla="*/ 4401354 w 11269336"/>
              <a:gd name="connsiteY149" fmla="*/ 2194745 h 2323145"/>
              <a:gd name="connsiteX150" fmla="*/ 4383151 w 11269336"/>
              <a:gd name="connsiteY150" fmla="*/ 2201140 h 2323145"/>
              <a:gd name="connsiteX151" fmla="*/ 4366646 w 11269336"/>
              <a:gd name="connsiteY151" fmla="*/ 2198564 h 2323145"/>
              <a:gd name="connsiteX152" fmla="*/ 4354009 w 11269336"/>
              <a:gd name="connsiteY152" fmla="*/ 2204984 h 2323145"/>
              <a:gd name="connsiteX153" fmla="*/ 4348284 w 11269336"/>
              <a:gd name="connsiteY153" fmla="*/ 2205270 h 2323145"/>
              <a:gd name="connsiteX154" fmla="*/ 4333906 w 11269336"/>
              <a:gd name="connsiteY154" fmla="*/ 2205251 h 2323145"/>
              <a:gd name="connsiteX155" fmla="*/ 4308819 w 11269336"/>
              <a:gd name="connsiteY155" fmla="*/ 2203822 h 2323145"/>
              <a:gd name="connsiteX156" fmla="*/ 4301210 w 11269336"/>
              <a:gd name="connsiteY156" fmla="*/ 2204456 h 2323145"/>
              <a:gd name="connsiteX157" fmla="*/ 4283095 w 11269336"/>
              <a:gd name="connsiteY157" fmla="*/ 2198177 h 2323145"/>
              <a:gd name="connsiteX158" fmla="*/ 4250119 w 11269336"/>
              <a:gd name="connsiteY158" fmla="*/ 2196342 h 2323145"/>
              <a:gd name="connsiteX159" fmla="*/ 4189203 w 11269336"/>
              <a:gd name="connsiteY159" fmla="*/ 2178994 h 2323145"/>
              <a:gd name="connsiteX160" fmla="*/ 4154035 w 11269336"/>
              <a:gd name="connsiteY160" fmla="*/ 2171950 h 2323145"/>
              <a:gd name="connsiteX161" fmla="*/ 4129569 w 11269336"/>
              <a:gd name="connsiteY161" fmla="*/ 2163850 h 2323145"/>
              <a:gd name="connsiteX162" fmla="*/ 4061250 w 11269336"/>
              <a:gd name="connsiteY162" fmla="*/ 2159236 h 2323145"/>
              <a:gd name="connsiteX163" fmla="*/ 3945480 w 11269336"/>
              <a:gd name="connsiteY163" fmla="*/ 2158279 h 2323145"/>
              <a:gd name="connsiteX164" fmla="*/ 3921468 w 11269336"/>
              <a:gd name="connsiteY164" fmla="*/ 2156588 h 2323145"/>
              <a:gd name="connsiteX165" fmla="*/ 3903348 w 11269336"/>
              <a:gd name="connsiteY165" fmla="*/ 2149220 h 2323145"/>
              <a:gd name="connsiteX166" fmla="*/ 3901342 w 11269336"/>
              <a:gd name="connsiteY166" fmla="*/ 2142355 h 2323145"/>
              <a:gd name="connsiteX167" fmla="*/ 3888539 w 11269336"/>
              <a:gd name="connsiteY167" fmla="*/ 2140476 h 2323145"/>
              <a:gd name="connsiteX168" fmla="*/ 3885662 w 11269336"/>
              <a:gd name="connsiteY168" fmla="*/ 2138740 h 2323145"/>
              <a:gd name="connsiteX169" fmla="*/ 3868627 w 11269336"/>
              <a:gd name="connsiteY169" fmla="*/ 2130023 h 2323145"/>
              <a:gd name="connsiteX170" fmla="*/ 3819177 w 11269336"/>
              <a:gd name="connsiteY170" fmla="*/ 2142111 h 2323145"/>
              <a:gd name="connsiteX171" fmla="*/ 3769100 w 11269336"/>
              <a:gd name="connsiteY171" fmla="*/ 2131731 h 2323145"/>
              <a:gd name="connsiteX172" fmla="*/ 3562752 w 11269336"/>
              <a:gd name="connsiteY172" fmla="*/ 2131785 h 2323145"/>
              <a:gd name="connsiteX173" fmla="*/ 3541402 w 11269336"/>
              <a:gd name="connsiteY173" fmla="*/ 2106821 h 2323145"/>
              <a:gd name="connsiteX174" fmla="*/ 3365341 w 11269336"/>
              <a:gd name="connsiteY174" fmla="*/ 2077638 h 2323145"/>
              <a:gd name="connsiteX175" fmla="*/ 3170922 w 11269336"/>
              <a:gd name="connsiteY175" fmla="*/ 2115957 h 2323145"/>
              <a:gd name="connsiteX176" fmla="*/ 3156256 w 11269336"/>
              <a:gd name="connsiteY176" fmla="*/ 2124773 h 2323145"/>
              <a:gd name="connsiteX177" fmla="*/ 3140298 w 11269336"/>
              <a:gd name="connsiteY177" fmla="*/ 2129182 h 2323145"/>
              <a:gd name="connsiteX178" fmla="*/ 3138514 w 11269336"/>
              <a:gd name="connsiteY178" fmla="*/ 2128069 h 2323145"/>
              <a:gd name="connsiteX179" fmla="*/ 3120467 w 11269336"/>
              <a:gd name="connsiteY179" fmla="*/ 2128281 h 2323145"/>
              <a:gd name="connsiteX180" fmla="*/ 3116175 w 11269336"/>
              <a:gd name="connsiteY180" fmla="*/ 2131633 h 2323145"/>
              <a:gd name="connsiteX181" fmla="*/ 3103685 w 11269336"/>
              <a:gd name="connsiteY181" fmla="*/ 2132814 h 2323145"/>
              <a:gd name="connsiteX182" fmla="*/ 3078794 w 11269336"/>
              <a:gd name="connsiteY182" fmla="*/ 2137935 h 2323145"/>
              <a:gd name="connsiteX183" fmla="*/ 3074407 w 11269336"/>
              <a:gd name="connsiteY183" fmla="*/ 2136274 h 2323145"/>
              <a:gd name="connsiteX184" fmla="*/ 3037285 w 11269336"/>
              <a:gd name="connsiteY184" fmla="*/ 2139919 h 2323145"/>
              <a:gd name="connsiteX185" fmla="*/ 3036901 w 11269336"/>
              <a:gd name="connsiteY185" fmla="*/ 2138726 h 2323145"/>
              <a:gd name="connsiteX186" fmla="*/ 3026996 w 11269336"/>
              <a:gd name="connsiteY186" fmla="*/ 2134322 h 2323145"/>
              <a:gd name="connsiteX187" fmla="*/ 3007772 w 11269336"/>
              <a:gd name="connsiteY187" fmla="*/ 2128742 h 2323145"/>
              <a:gd name="connsiteX188" fmla="*/ 2965030 w 11269336"/>
              <a:gd name="connsiteY188" fmla="*/ 2100494 h 2323145"/>
              <a:gd name="connsiteX189" fmla="*/ 2926342 w 11269336"/>
              <a:gd name="connsiteY189" fmla="*/ 2104155 h 2323145"/>
              <a:gd name="connsiteX190" fmla="*/ 2918608 w 11269336"/>
              <a:gd name="connsiteY190" fmla="*/ 2104215 h 2323145"/>
              <a:gd name="connsiteX191" fmla="*/ 2918475 w 11269336"/>
              <a:gd name="connsiteY191" fmla="*/ 2103937 h 2323145"/>
              <a:gd name="connsiteX192" fmla="*/ 2910360 w 11269336"/>
              <a:gd name="connsiteY192" fmla="*/ 2103444 h 2323145"/>
              <a:gd name="connsiteX193" fmla="*/ 2904507 w 11269336"/>
              <a:gd name="connsiteY193" fmla="*/ 2104326 h 2323145"/>
              <a:gd name="connsiteX194" fmla="*/ 2889503 w 11269336"/>
              <a:gd name="connsiteY194" fmla="*/ 2104443 h 2323145"/>
              <a:gd name="connsiteX195" fmla="*/ 2884480 w 11269336"/>
              <a:gd name="connsiteY195" fmla="*/ 2102626 h 2323145"/>
              <a:gd name="connsiteX196" fmla="*/ 2882689 w 11269336"/>
              <a:gd name="connsiteY196" fmla="*/ 2099228 h 2323145"/>
              <a:gd name="connsiteX197" fmla="*/ 2881291 w 11269336"/>
              <a:gd name="connsiteY197" fmla="*/ 2099618 h 2323145"/>
              <a:gd name="connsiteX198" fmla="*/ 2853979 w 11269336"/>
              <a:gd name="connsiteY198" fmla="*/ 2090388 h 2323145"/>
              <a:gd name="connsiteX199" fmla="*/ 2791790 w 11269336"/>
              <a:gd name="connsiteY199" fmla="*/ 2080332 h 2323145"/>
              <a:gd name="connsiteX200" fmla="*/ 2755844 w 11269336"/>
              <a:gd name="connsiteY200" fmla="*/ 2078874 h 2323145"/>
              <a:gd name="connsiteX201" fmla="*/ 2657742 w 11269336"/>
              <a:gd name="connsiteY201" fmla="*/ 2070179 h 2323145"/>
              <a:gd name="connsiteX202" fmla="*/ 2559549 w 11269336"/>
              <a:gd name="connsiteY202" fmla="*/ 2057873 h 2323145"/>
              <a:gd name="connsiteX203" fmla="*/ 2512054 w 11269336"/>
              <a:gd name="connsiteY203" fmla="*/ 2031671 h 2323145"/>
              <a:gd name="connsiteX204" fmla="*/ 2506437 w 11269336"/>
              <a:gd name="connsiteY204" fmla="*/ 2030918 h 2323145"/>
              <a:gd name="connsiteX205" fmla="*/ 2491752 w 11269336"/>
              <a:gd name="connsiteY205" fmla="*/ 2033906 h 2323145"/>
              <a:gd name="connsiteX206" fmla="*/ 2486338 w 11269336"/>
              <a:gd name="connsiteY206" fmla="*/ 2035862 h 2323145"/>
              <a:gd name="connsiteX207" fmla="*/ 2478186 w 11269336"/>
              <a:gd name="connsiteY207" fmla="*/ 2036953 h 2323145"/>
              <a:gd name="connsiteX208" fmla="*/ 2477950 w 11269336"/>
              <a:gd name="connsiteY208" fmla="*/ 2036715 h 2323145"/>
              <a:gd name="connsiteX209" fmla="*/ 2470381 w 11269336"/>
              <a:gd name="connsiteY209" fmla="*/ 2038256 h 2323145"/>
              <a:gd name="connsiteX210" fmla="*/ 2433781 w 11269336"/>
              <a:gd name="connsiteY210" fmla="*/ 2049140 h 2323145"/>
              <a:gd name="connsiteX211" fmla="*/ 2381172 w 11269336"/>
              <a:gd name="connsiteY211" fmla="*/ 2030645 h 2323145"/>
              <a:gd name="connsiteX212" fmla="*/ 2360198 w 11269336"/>
              <a:gd name="connsiteY212" fmla="*/ 2029059 h 2323145"/>
              <a:gd name="connsiteX213" fmla="*/ 2348815 w 11269336"/>
              <a:gd name="connsiteY213" fmla="*/ 2026798 h 2323145"/>
              <a:gd name="connsiteX214" fmla="*/ 2347988 w 11269336"/>
              <a:gd name="connsiteY214" fmla="*/ 2025745 h 2323145"/>
              <a:gd name="connsiteX215" fmla="*/ 2312920 w 11269336"/>
              <a:gd name="connsiteY215" fmla="*/ 2036311 h 2323145"/>
              <a:gd name="connsiteX216" fmla="*/ 2307986 w 11269336"/>
              <a:gd name="connsiteY216" fmla="*/ 2035583 h 2323145"/>
              <a:gd name="connsiteX217" fmla="*/ 2285481 w 11269336"/>
              <a:gd name="connsiteY217" fmla="*/ 2045197 h 2323145"/>
              <a:gd name="connsiteX218" fmla="*/ 2273666 w 11269336"/>
              <a:gd name="connsiteY218" fmla="*/ 2048710 h 2323145"/>
              <a:gd name="connsiteX219" fmla="*/ 2270719 w 11269336"/>
              <a:gd name="connsiteY219" fmla="*/ 2052702 h 2323145"/>
              <a:gd name="connsiteX220" fmla="*/ 2253080 w 11269336"/>
              <a:gd name="connsiteY220" fmla="*/ 2056363 h 2323145"/>
              <a:gd name="connsiteX221" fmla="*/ 2250906 w 11269336"/>
              <a:gd name="connsiteY221" fmla="*/ 2055654 h 2323145"/>
              <a:gd name="connsiteX222" fmla="*/ 2236905 w 11269336"/>
              <a:gd name="connsiteY222" fmla="*/ 2062882 h 2323145"/>
              <a:gd name="connsiteX223" fmla="*/ 2225830 w 11269336"/>
              <a:gd name="connsiteY223" fmla="*/ 2074027 h 2323145"/>
              <a:gd name="connsiteX224" fmla="*/ 2073776 w 11269336"/>
              <a:gd name="connsiteY224" fmla="*/ 2089244 h 2323145"/>
              <a:gd name="connsiteX225" fmla="*/ 1948256 w 11269336"/>
              <a:gd name="connsiteY225" fmla="*/ 2146616 h 2323145"/>
              <a:gd name="connsiteX226" fmla="*/ 1865582 w 11269336"/>
              <a:gd name="connsiteY226" fmla="*/ 2153738 h 2323145"/>
              <a:gd name="connsiteX227" fmla="*/ 1835210 w 11269336"/>
              <a:gd name="connsiteY227" fmla="*/ 2134244 h 2323145"/>
              <a:gd name="connsiteX228" fmla="*/ 1632661 w 11269336"/>
              <a:gd name="connsiteY228" fmla="*/ 2173882 h 2323145"/>
              <a:gd name="connsiteX229" fmla="*/ 1579590 w 11269336"/>
              <a:gd name="connsiteY229" fmla="*/ 2173680 h 2323145"/>
              <a:gd name="connsiteX230" fmla="*/ 1535601 w 11269336"/>
              <a:gd name="connsiteY230" fmla="*/ 2194590 h 2323145"/>
              <a:gd name="connsiteX231" fmla="*/ 1515594 w 11269336"/>
              <a:gd name="connsiteY231" fmla="*/ 2189622 h 2323145"/>
              <a:gd name="connsiteX232" fmla="*/ 1512113 w 11269336"/>
              <a:gd name="connsiteY232" fmla="*/ 2188534 h 2323145"/>
              <a:gd name="connsiteX233" fmla="*/ 1498838 w 11269336"/>
              <a:gd name="connsiteY233" fmla="*/ 2189213 h 2323145"/>
              <a:gd name="connsiteX234" fmla="*/ 1494279 w 11269336"/>
              <a:gd name="connsiteY234" fmla="*/ 2183112 h 2323145"/>
              <a:gd name="connsiteX235" fmla="*/ 1473714 w 11269336"/>
              <a:gd name="connsiteY235" fmla="*/ 2179625 h 2323145"/>
              <a:gd name="connsiteX236" fmla="*/ 1449503 w 11269336"/>
              <a:gd name="connsiteY236" fmla="*/ 2182633 h 2323145"/>
              <a:gd name="connsiteX237" fmla="*/ 1266687 w 11269336"/>
              <a:gd name="connsiteY237" fmla="*/ 2212688 h 2323145"/>
              <a:gd name="connsiteX238" fmla="*/ 1239614 w 11269336"/>
              <a:gd name="connsiteY238" fmla="*/ 2209727 h 2323145"/>
              <a:gd name="connsiteX239" fmla="*/ 1202436 w 11269336"/>
              <a:gd name="connsiteY239" fmla="*/ 2209817 h 2323145"/>
              <a:gd name="connsiteX240" fmla="*/ 1136097 w 11269336"/>
              <a:gd name="connsiteY240" fmla="*/ 2205112 h 2323145"/>
              <a:gd name="connsiteX241" fmla="*/ 988232 w 11269336"/>
              <a:gd name="connsiteY241" fmla="*/ 2235635 h 2323145"/>
              <a:gd name="connsiteX242" fmla="*/ 981959 w 11269336"/>
              <a:gd name="connsiteY242" fmla="*/ 2231607 h 2323145"/>
              <a:gd name="connsiteX243" fmla="*/ 938600 w 11269336"/>
              <a:gd name="connsiteY243" fmla="*/ 2238113 h 2323145"/>
              <a:gd name="connsiteX244" fmla="*/ 791788 w 11269336"/>
              <a:gd name="connsiteY244" fmla="*/ 2293224 h 2323145"/>
              <a:gd name="connsiteX245" fmla="*/ 706914 w 11269336"/>
              <a:gd name="connsiteY245" fmla="*/ 2305046 h 2323145"/>
              <a:gd name="connsiteX246" fmla="*/ 675971 w 11269336"/>
              <a:gd name="connsiteY246" fmla="*/ 2304030 h 2323145"/>
              <a:gd name="connsiteX247" fmla="*/ 624180 w 11269336"/>
              <a:gd name="connsiteY247" fmla="*/ 2302650 h 2323145"/>
              <a:gd name="connsiteX248" fmla="*/ 583453 w 11269336"/>
              <a:gd name="connsiteY248" fmla="*/ 2288788 h 2323145"/>
              <a:gd name="connsiteX249" fmla="*/ 540946 w 11269336"/>
              <a:gd name="connsiteY249" fmla="*/ 2292721 h 2323145"/>
              <a:gd name="connsiteX250" fmla="*/ 533680 w 11269336"/>
              <a:gd name="connsiteY250" fmla="*/ 2310233 h 2323145"/>
              <a:gd name="connsiteX251" fmla="*/ 487366 w 11269336"/>
              <a:gd name="connsiteY251" fmla="*/ 2309053 h 2323145"/>
              <a:gd name="connsiteX252" fmla="*/ 416820 w 11269336"/>
              <a:gd name="connsiteY252" fmla="*/ 2305443 h 2323145"/>
              <a:gd name="connsiteX253" fmla="*/ 376805 w 11269336"/>
              <a:gd name="connsiteY253" fmla="*/ 2307647 h 2323145"/>
              <a:gd name="connsiteX254" fmla="*/ 266777 w 11269336"/>
              <a:gd name="connsiteY254" fmla="*/ 2309012 h 2323145"/>
              <a:gd name="connsiteX255" fmla="*/ 156013 w 11269336"/>
              <a:gd name="connsiteY255" fmla="*/ 2306832 h 2323145"/>
              <a:gd name="connsiteX256" fmla="*/ 87258 w 11269336"/>
              <a:gd name="connsiteY256" fmla="*/ 2285511 h 2323145"/>
              <a:gd name="connsiteX257" fmla="*/ 23798 w 11269336"/>
              <a:gd name="connsiteY257" fmla="*/ 2281822 h 2323145"/>
              <a:gd name="connsiteX258" fmla="*/ 0 w 11269336"/>
              <a:gd name="connsiteY258" fmla="*/ 2285369 h 2323145"/>
              <a:gd name="connsiteX259" fmla="*/ 0 w 11269336"/>
              <a:gd name="connsiteY259"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92832 w 11269336"/>
              <a:gd name="connsiteY142" fmla="*/ 2188033 h 2323145"/>
              <a:gd name="connsiteX143" fmla="*/ 4467257 w 11269336"/>
              <a:gd name="connsiteY143" fmla="*/ 2196121 h 2323145"/>
              <a:gd name="connsiteX144" fmla="*/ 4459937 w 11269336"/>
              <a:gd name="connsiteY144" fmla="*/ 2195182 h 2323145"/>
              <a:gd name="connsiteX145" fmla="*/ 4433312 w 11269336"/>
              <a:gd name="connsiteY145" fmla="*/ 2199004 h 2323145"/>
              <a:gd name="connsiteX146" fmla="*/ 4420601 w 11269336"/>
              <a:gd name="connsiteY146" fmla="*/ 2205158 h 2323145"/>
              <a:gd name="connsiteX147" fmla="*/ 4405765 w 11269336"/>
              <a:gd name="connsiteY147" fmla="*/ 2199902 h 2323145"/>
              <a:gd name="connsiteX148" fmla="*/ 4401354 w 11269336"/>
              <a:gd name="connsiteY148" fmla="*/ 2194745 h 2323145"/>
              <a:gd name="connsiteX149" fmla="*/ 4383151 w 11269336"/>
              <a:gd name="connsiteY149" fmla="*/ 2201140 h 2323145"/>
              <a:gd name="connsiteX150" fmla="*/ 4366646 w 11269336"/>
              <a:gd name="connsiteY150" fmla="*/ 2198564 h 2323145"/>
              <a:gd name="connsiteX151" fmla="*/ 4354009 w 11269336"/>
              <a:gd name="connsiteY151" fmla="*/ 2204984 h 2323145"/>
              <a:gd name="connsiteX152" fmla="*/ 4348284 w 11269336"/>
              <a:gd name="connsiteY152" fmla="*/ 2205270 h 2323145"/>
              <a:gd name="connsiteX153" fmla="*/ 4333906 w 11269336"/>
              <a:gd name="connsiteY153" fmla="*/ 2205251 h 2323145"/>
              <a:gd name="connsiteX154" fmla="*/ 4308819 w 11269336"/>
              <a:gd name="connsiteY154" fmla="*/ 2203822 h 2323145"/>
              <a:gd name="connsiteX155" fmla="*/ 4301210 w 11269336"/>
              <a:gd name="connsiteY155" fmla="*/ 2204456 h 2323145"/>
              <a:gd name="connsiteX156" fmla="*/ 4283095 w 11269336"/>
              <a:gd name="connsiteY156" fmla="*/ 2198177 h 2323145"/>
              <a:gd name="connsiteX157" fmla="*/ 4250119 w 11269336"/>
              <a:gd name="connsiteY157" fmla="*/ 2196342 h 2323145"/>
              <a:gd name="connsiteX158" fmla="*/ 4189203 w 11269336"/>
              <a:gd name="connsiteY158" fmla="*/ 2178994 h 2323145"/>
              <a:gd name="connsiteX159" fmla="*/ 4154035 w 11269336"/>
              <a:gd name="connsiteY159" fmla="*/ 2171950 h 2323145"/>
              <a:gd name="connsiteX160" fmla="*/ 4129569 w 11269336"/>
              <a:gd name="connsiteY160" fmla="*/ 2163850 h 2323145"/>
              <a:gd name="connsiteX161" fmla="*/ 4061250 w 11269336"/>
              <a:gd name="connsiteY161" fmla="*/ 2159236 h 2323145"/>
              <a:gd name="connsiteX162" fmla="*/ 3945480 w 11269336"/>
              <a:gd name="connsiteY162" fmla="*/ 2158279 h 2323145"/>
              <a:gd name="connsiteX163" fmla="*/ 3921468 w 11269336"/>
              <a:gd name="connsiteY163" fmla="*/ 2156588 h 2323145"/>
              <a:gd name="connsiteX164" fmla="*/ 3903348 w 11269336"/>
              <a:gd name="connsiteY164" fmla="*/ 2149220 h 2323145"/>
              <a:gd name="connsiteX165" fmla="*/ 3901342 w 11269336"/>
              <a:gd name="connsiteY165" fmla="*/ 2142355 h 2323145"/>
              <a:gd name="connsiteX166" fmla="*/ 3888539 w 11269336"/>
              <a:gd name="connsiteY166" fmla="*/ 2140476 h 2323145"/>
              <a:gd name="connsiteX167" fmla="*/ 3885662 w 11269336"/>
              <a:gd name="connsiteY167" fmla="*/ 2138740 h 2323145"/>
              <a:gd name="connsiteX168" fmla="*/ 3868627 w 11269336"/>
              <a:gd name="connsiteY168" fmla="*/ 2130023 h 2323145"/>
              <a:gd name="connsiteX169" fmla="*/ 3819177 w 11269336"/>
              <a:gd name="connsiteY169" fmla="*/ 2142111 h 2323145"/>
              <a:gd name="connsiteX170" fmla="*/ 3769100 w 11269336"/>
              <a:gd name="connsiteY170" fmla="*/ 2131731 h 2323145"/>
              <a:gd name="connsiteX171" fmla="*/ 3562752 w 11269336"/>
              <a:gd name="connsiteY171" fmla="*/ 2131785 h 2323145"/>
              <a:gd name="connsiteX172" fmla="*/ 3541402 w 11269336"/>
              <a:gd name="connsiteY172" fmla="*/ 2106821 h 2323145"/>
              <a:gd name="connsiteX173" fmla="*/ 3365341 w 11269336"/>
              <a:gd name="connsiteY173" fmla="*/ 2077638 h 2323145"/>
              <a:gd name="connsiteX174" fmla="*/ 3170922 w 11269336"/>
              <a:gd name="connsiteY174" fmla="*/ 2115957 h 2323145"/>
              <a:gd name="connsiteX175" fmla="*/ 3156256 w 11269336"/>
              <a:gd name="connsiteY175" fmla="*/ 2124773 h 2323145"/>
              <a:gd name="connsiteX176" fmla="*/ 3140298 w 11269336"/>
              <a:gd name="connsiteY176" fmla="*/ 2129182 h 2323145"/>
              <a:gd name="connsiteX177" fmla="*/ 3138514 w 11269336"/>
              <a:gd name="connsiteY177" fmla="*/ 2128069 h 2323145"/>
              <a:gd name="connsiteX178" fmla="*/ 3120467 w 11269336"/>
              <a:gd name="connsiteY178" fmla="*/ 2128281 h 2323145"/>
              <a:gd name="connsiteX179" fmla="*/ 3116175 w 11269336"/>
              <a:gd name="connsiteY179" fmla="*/ 2131633 h 2323145"/>
              <a:gd name="connsiteX180" fmla="*/ 3103685 w 11269336"/>
              <a:gd name="connsiteY180" fmla="*/ 2132814 h 2323145"/>
              <a:gd name="connsiteX181" fmla="*/ 3078794 w 11269336"/>
              <a:gd name="connsiteY181" fmla="*/ 2137935 h 2323145"/>
              <a:gd name="connsiteX182" fmla="*/ 3074407 w 11269336"/>
              <a:gd name="connsiteY182" fmla="*/ 2136274 h 2323145"/>
              <a:gd name="connsiteX183" fmla="*/ 3037285 w 11269336"/>
              <a:gd name="connsiteY183" fmla="*/ 2139919 h 2323145"/>
              <a:gd name="connsiteX184" fmla="*/ 3036901 w 11269336"/>
              <a:gd name="connsiteY184" fmla="*/ 2138726 h 2323145"/>
              <a:gd name="connsiteX185" fmla="*/ 3026996 w 11269336"/>
              <a:gd name="connsiteY185" fmla="*/ 2134322 h 2323145"/>
              <a:gd name="connsiteX186" fmla="*/ 3007772 w 11269336"/>
              <a:gd name="connsiteY186" fmla="*/ 2128742 h 2323145"/>
              <a:gd name="connsiteX187" fmla="*/ 2965030 w 11269336"/>
              <a:gd name="connsiteY187" fmla="*/ 2100494 h 2323145"/>
              <a:gd name="connsiteX188" fmla="*/ 2926342 w 11269336"/>
              <a:gd name="connsiteY188" fmla="*/ 2104155 h 2323145"/>
              <a:gd name="connsiteX189" fmla="*/ 2918608 w 11269336"/>
              <a:gd name="connsiteY189" fmla="*/ 2104215 h 2323145"/>
              <a:gd name="connsiteX190" fmla="*/ 2918475 w 11269336"/>
              <a:gd name="connsiteY190" fmla="*/ 2103937 h 2323145"/>
              <a:gd name="connsiteX191" fmla="*/ 2910360 w 11269336"/>
              <a:gd name="connsiteY191" fmla="*/ 2103444 h 2323145"/>
              <a:gd name="connsiteX192" fmla="*/ 2904507 w 11269336"/>
              <a:gd name="connsiteY192" fmla="*/ 2104326 h 2323145"/>
              <a:gd name="connsiteX193" fmla="*/ 2889503 w 11269336"/>
              <a:gd name="connsiteY193" fmla="*/ 2104443 h 2323145"/>
              <a:gd name="connsiteX194" fmla="*/ 2884480 w 11269336"/>
              <a:gd name="connsiteY194" fmla="*/ 2102626 h 2323145"/>
              <a:gd name="connsiteX195" fmla="*/ 2882689 w 11269336"/>
              <a:gd name="connsiteY195" fmla="*/ 2099228 h 2323145"/>
              <a:gd name="connsiteX196" fmla="*/ 2881291 w 11269336"/>
              <a:gd name="connsiteY196" fmla="*/ 2099618 h 2323145"/>
              <a:gd name="connsiteX197" fmla="*/ 2853979 w 11269336"/>
              <a:gd name="connsiteY197" fmla="*/ 2090388 h 2323145"/>
              <a:gd name="connsiteX198" fmla="*/ 2791790 w 11269336"/>
              <a:gd name="connsiteY198" fmla="*/ 2080332 h 2323145"/>
              <a:gd name="connsiteX199" fmla="*/ 2755844 w 11269336"/>
              <a:gd name="connsiteY199" fmla="*/ 2078874 h 2323145"/>
              <a:gd name="connsiteX200" fmla="*/ 2657742 w 11269336"/>
              <a:gd name="connsiteY200" fmla="*/ 2070179 h 2323145"/>
              <a:gd name="connsiteX201" fmla="*/ 2559549 w 11269336"/>
              <a:gd name="connsiteY201" fmla="*/ 2057873 h 2323145"/>
              <a:gd name="connsiteX202" fmla="*/ 2512054 w 11269336"/>
              <a:gd name="connsiteY202" fmla="*/ 2031671 h 2323145"/>
              <a:gd name="connsiteX203" fmla="*/ 2506437 w 11269336"/>
              <a:gd name="connsiteY203" fmla="*/ 2030918 h 2323145"/>
              <a:gd name="connsiteX204" fmla="*/ 2491752 w 11269336"/>
              <a:gd name="connsiteY204" fmla="*/ 2033906 h 2323145"/>
              <a:gd name="connsiteX205" fmla="*/ 2486338 w 11269336"/>
              <a:gd name="connsiteY205" fmla="*/ 2035862 h 2323145"/>
              <a:gd name="connsiteX206" fmla="*/ 2478186 w 11269336"/>
              <a:gd name="connsiteY206" fmla="*/ 2036953 h 2323145"/>
              <a:gd name="connsiteX207" fmla="*/ 2477950 w 11269336"/>
              <a:gd name="connsiteY207" fmla="*/ 2036715 h 2323145"/>
              <a:gd name="connsiteX208" fmla="*/ 2470381 w 11269336"/>
              <a:gd name="connsiteY208" fmla="*/ 2038256 h 2323145"/>
              <a:gd name="connsiteX209" fmla="*/ 2433781 w 11269336"/>
              <a:gd name="connsiteY209" fmla="*/ 2049140 h 2323145"/>
              <a:gd name="connsiteX210" fmla="*/ 2381172 w 11269336"/>
              <a:gd name="connsiteY210" fmla="*/ 2030645 h 2323145"/>
              <a:gd name="connsiteX211" fmla="*/ 2360198 w 11269336"/>
              <a:gd name="connsiteY211" fmla="*/ 2029059 h 2323145"/>
              <a:gd name="connsiteX212" fmla="*/ 2348815 w 11269336"/>
              <a:gd name="connsiteY212" fmla="*/ 2026798 h 2323145"/>
              <a:gd name="connsiteX213" fmla="*/ 2347988 w 11269336"/>
              <a:gd name="connsiteY213" fmla="*/ 2025745 h 2323145"/>
              <a:gd name="connsiteX214" fmla="*/ 2312920 w 11269336"/>
              <a:gd name="connsiteY214" fmla="*/ 2036311 h 2323145"/>
              <a:gd name="connsiteX215" fmla="*/ 2307986 w 11269336"/>
              <a:gd name="connsiteY215" fmla="*/ 2035583 h 2323145"/>
              <a:gd name="connsiteX216" fmla="*/ 2285481 w 11269336"/>
              <a:gd name="connsiteY216" fmla="*/ 2045197 h 2323145"/>
              <a:gd name="connsiteX217" fmla="*/ 2273666 w 11269336"/>
              <a:gd name="connsiteY217" fmla="*/ 2048710 h 2323145"/>
              <a:gd name="connsiteX218" fmla="*/ 2270719 w 11269336"/>
              <a:gd name="connsiteY218" fmla="*/ 2052702 h 2323145"/>
              <a:gd name="connsiteX219" fmla="*/ 2253080 w 11269336"/>
              <a:gd name="connsiteY219" fmla="*/ 2056363 h 2323145"/>
              <a:gd name="connsiteX220" fmla="*/ 2250906 w 11269336"/>
              <a:gd name="connsiteY220" fmla="*/ 2055654 h 2323145"/>
              <a:gd name="connsiteX221" fmla="*/ 2236905 w 11269336"/>
              <a:gd name="connsiteY221" fmla="*/ 2062882 h 2323145"/>
              <a:gd name="connsiteX222" fmla="*/ 2225830 w 11269336"/>
              <a:gd name="connsiteY222" fmla="*/ 2074027 h 2323145"/>
              <a:gd name="connsiteX223" fmla="*/ 2073776 w 11269336"/>
              <a:gd name="connsiteY223" fmla="*/ 2089244 h 2323145"/>
              <a:gd name="connsiteX224" fmla="*/ 1948256 w 11269336"/>
              <a:gd name="connsiteY224" fmla="*/ 2146616 h 2323145"/>
              <a:gd name="connsiteX225" fmla="*/ 1865582 w 11269336"/>
              <a:gd name="connsiteY225" fmla="*/ 2153738 h 2323145"/>
              <a:gd name="connsiteX226" fmla="*/ 1835210 w 11269336"/>
              <a:gd name="connsiteY226" fmla="*/ 2134244 h 2323145"/>
              <a:gd name="connsiteX227" fmla="*/ 1632661 w 11269336"/>
              <a:gd name="connsiteY227" fmla="*/ 2173882 h 2323145"/>
              <a:gd name="connsiteX228" fmla="*/ 1579590 w 11269336"/>
              <a:gd name="connsiteY228" fmla="*/ 2173680 h 2323145"/>
              <a:gd name="connsiteX229" fmla="*/ 1535601 w 11269336"/>
              <a:gd name="connsiteY229" fmla="*/ 2194590 h 2323145"/>
              <a:gd name="connsiteX230" fmla="*/ 1515594 w 11269336"/>
              <a:gd name="connsiteY230" fmla="*/ 2189622 h 2323145"/>
              <a:gd name="connsiteX231" fmla="*/ 1512113 w 11269336"/>
              <a:gd name="connsiteY231" fmla="*/ 2188534 h 2323145"/>
              <a:gd name="connsiteX232" fmla="*/ 1498838 w 11269336"/>
              <a:gd name="connsiteY232" fmla="*/ 2189213 h 2323145"/>
              <a:gd name="connsiteX233" fmla="*/ 1494279 w 11269336"/>
              <a:gd name="connsiteY233" fmla="*/ 2183112 h 2323145"/>
              <a:gd name="connsiteX234" fmla="*/ 1473714 w 11269336"/>
              <a:gd name="connsiteY234" fmla="*/ 2179625 h 2323145"/>
              <a:gd name="connsiteX235" fmla="*/ 1449503 w 11269336"/>
              <a:gd name="connsiteY235" fmla="*/ 2182633 h 2323145"/>
              <a:gd name="connsiteX236" fmla="*/ 1266687 w 11269336"/>
              <a:gd name="connsiteY236" fmla="*/ 2212688 h 2323145"/>
              <a:gd name="connsiteX237" fmla="*/ 1239614 w 11269336"/>
              <a:gd name="connsiteY237" fmla="*/ 2209727 h 2323145"/>
              <a:gd name="connsiteX238" fmla="*/ 1202436 w 11269336"/>
              <a:gd name="connsiteY238" fmla="*/ 2209817 h 2323145"/>
              <a:gd name="connsiteX239" fmla="*/ 1136097 w 11269336"/>
              <a:gd name="connsiteY239" fmla="*/ 2205112 h 2323145"/>
              <a:gd name="connsiteX240" fmla="*/ 988232 w 11269336"/>
              <a:gd name="connsiteY240" fmla="*/ 2235635 h 2323145"/>
              <a:gd name="connsiteX241" fmla="*/ 981959 w 11269336"/>
              <a:gd name="connsiteY241" fmla="*/ 2231607 h 2323145"/>
              <a:gd name="connsiteX242" fmla="*/ 938600 w 11269336"/>
              <a:gd name="connsiteY242" fmla="*/ 2238113 h 2323145"/>
              <a:gd name="connsiteX243" fmla="*/ 791788 w 11269336"/>
              <a:gd name="connsiteY243" fmla="*/ 2293224 h 2323145"/>
              <a:gd name="connsiteX244" fmla="*/ 706914 w 11269336"/>
              <a:gd name="connsiteY244" fmla="*/ 2305046 h 2323145"/>
              <a:gd name="connsiteX245" fmla="*/ 675971 w 11269336"/>
              <a:gd name="connsiteY245" fmla="*/ 2304030 h 2323145"/>
              <a:gd name="connsiteX246" fmla="*/ 624180 w 11269336"/>
              <a:gd name="connsiteY246" fmla="*/ 2302650 h 2323145"/>
              <a:gd name="connsiteX247" fmla="*/ 583453 w 11269336"/>
              <a:gd name="connsiteY247" fmla="*/ 2288788 h 2323145"/>
              <a:gd name="connsiteX248" fmla="*/ 540946 w 11269336"/>
              <a:gd name="connsiteY248" fmla="*/ 2292721 h 2323145"/>
              <a:gd name="connsiteX249" fmla="*/ 533680 w 11269336"/>
              <a:gd name="connsiteY249" fmla="*/ 2310233 h 2323145"/>
              <a:gd name="connsiteX250" fmla="*/ 487366 w 11269336"/>
              <a:gd name="connsiteY250" fmla="*/ 2309053 h 2323145"/>
              <a:gd name="connsiteX251" fmla="*/ 416820 w 11269336"/>
              <a:gd name="connsiteY251" fmla="*/ 2305443 h 2323145"/>
              <a:gd name="connsiteX252" fmla="*/ 376805 w 11269336"/>
              <a:gd name="connsiteY252" fmla="*/ 2307647 h 2323145"/>
              <a:gd name="connsiteX253" fmla="*/ 266777 w 11269336"/>
              <a:gd name="connsiteY253" fmla="*/ 2309012 h 2323145"/>
              <a:gd name="connsiteX254" fmla="*/ 156013 w 11269336"/>
              <a:gd name="connsiteY254" fmla="*/ 2306832 h 2323145"/>
              <a:gd name="connsiteX255" fmla="*/ 87258 w 11269336"/>
              <a:gd name="connsiteY255" fmla="*/ 2285511 h 2323145"/>
              <a:gd name="connsiteX256" fmla="*/ 23798 w 11269336"/>
              <a:gd name="connsiteY256" fmla="*/ 2281822 h 2323145"/>
              <a:gd name="connsiteX257" fmla="*/ 0 w 11269336"/>
              <a:gd name="connsiteY257" fmla="*/ 2285369 h 2323145"/>
              <a:gd name="connsiteX258" fmla="*/ 0 w 11269336"/>
              <a:gd name="connsiteY258"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92832 w 11269336"/>
              <a:gd name="connsiteY142" fmla="*/ 2188033 h 2323145"/>
              <a:gd name="connsiteX143" fmla="*/ 4467257 w 11269336"/>
              <a:gd name="connsiteY143" fmla="*/ 2196121 h 2323145"/>
              <a:gd name="connsiteX144" fmla="*/ 4459937 w 11269336"/>
              <a:gd name="connsiteY144" fmla="*/ 2195182 h 2323145"/>
              <a:gd name="connsiteX145" fmla="*/ 4433312 w 11269336"/>
              <a:gd name="connsiteY145" fmla="*/ 2199004 h 2323145"/>
              <a:gd name="connsiteX146" fmla="*/ 4420601 w 11269336"/>
              <a:gd name="connsiteY146" fmla="*/ 2205158 h 2323145"/>
              <a:gd name="connsiteX147" fmla="*/ 4405765 w 11269336"/>
              <a:gd name="connsiteY147" fmla="*/ 2199902 h 2323145"/>
              <a:gd name="connsiteX148" fmla="*/ 4401354 w 11269336"/>
              <a:gd name="connsiteY148" fmla="*/ 2194745 h 2323145"/>
              <a:gd name="connsiteX149" fmla="*/ 4366646 w 11269336"/>
              <a:gd name="connsiteY149" fmla="*/ 2198564 h 2323145"/>
              <a:gd name="connsiteX150" fmla="*/ 4354009 w 11269336"/>
              <a:gd name="connsiteY150" fmla="*/ 2204984 h 2323145"/>
              <a:gd name="connsiteX151" fmla="*/ 4348284 w 11269336"/>
              <a:gd name="connsiteY151" fmla="*/ 2205270 h 2323145"/>
              <a:gd name="connsiteX152" fmla="*/ 4333906 w 11269336"/>
              <a:gd name="connsiteY152" fmla="*/ 2205251 h 2323145"/>
              <a:gd name="connsiteX153" fmla="*/ 4308819 w 11269336"/>
              <a:gd name="connsiteY153" fmla="*/ 2203822 h 2323145"/>
              <a:gd name="connsiteX154" fmla="*/ 4301210 w 11269336"/>
              <a:gd name="connsiteY154" fmla="*/ 2204456 h 2323145"/>
              <a:gd name="connsiteX155" fmla="*/ 4283095 w 11269336"/>
              <a:gd name="connsiteY155" fmla="*/ 2198177 h 2323145"/>
              <a:gd name="connsiteX156" fmla="*/ 4250119 w 11269336"/>
              <a:gd name="connsiteY156" fmla="*/ 2196342 h 2323145"/>
              <a:gd name="connsiteX157" fmla="*/ 4189203 w 11269336"/>
              <a:gd name="connsiteY157" fmla="*/ 2178994 h 2323145"/>
              <a:gd name="connsiteX158" fmla="*/ 4154035 w 11269336"/>
              <a:gd name="connsiteY158" fmla="*/ 2171950 h 2323145"/>
              <a:gd name="connsiteX159" fmla="*/ 4129569 w 11269336"/>
              <a:gd name="connsiteY159" fmla="*/ 2163850 h 2323145"/>
              <a:gd name="connsiteX160" fmla="*/ 4061250 w 11269336"/>
              <a:gd name="connsiteY160" fmla="*/ 2159236 h 2323145"/>
              <a:gd name="connsiteX161" fmla="*/ 3945480 w 11269336"/>
              <a:gd name="connsiteY161" fmla="*/ 2158279 h 2323145"/>
              <a:gd name="connsiteX162" fmla="*/ 3921468 w 11269336"/>
              <a:gd name="connsiteY162" fmla="*/ 2156588 h 2323145"/>
              <a:gd name="connsiteX163" fmla="*/ 3903348 w 11269336"/>
              <a:gd name="connsiteY163" fmla="*/ 2149220 h 2323145"/>
              <a:gd name="connsiteX164" fmla="*/ 3901342 w 11269336"/>
              <a:gd name="connsiteY164" fmla="*/ 2142355 h 2323145"/>
              <a:gd name="connsiteX165" fmla="*/ 3888539 w 11269336"/>
              <a:gd name="connsiteY165" fmla="*/ 2140476 h 2323145"/>
              <a:gd name="connsiteX166" fmla="*/ 3885662 w 11269336"/>
              <a:gd name="connsiteY166" fmla="*/ 2138740 h 2323145"/>
              <a:gd name="connsiteX167" fmla="*/ 3868627 w 11269336"/>
              <a:gd name="connsiteY167" fmla="*/ 2130023 h 2323145"/>
              <a:gd name="connsiteX168" fmla="*/ 3819177 w 11269336"/>
              <a:gd name="connsiteY168" fmla="*/ 2142111 h 2323145"/>
              <a:gd name="connsiteX169" fmla="*/ 3769100 w 11269336"/>
              <a:gd name="connsiteY169" fmla="*/ 2131731 h 2323145"/>
              <a:gd name="connsiteX170" fmla="*/ 3562752 w 11269336"/>
              <a:gd name="connsiteY170" fmla="*/ 2131785 h 2323145"/>
              <a:gd name="connsiteX171" fmla="*/ 3541402 w 11269336"/>
              <a:gd name="connsiteY171" fmla="*/ 2106821 h 2323145"/>
              <a:gd name="connsiteX172" fmla="*/ 3365341 w 11269336"/>
              <a:gd name="connsiteY172" fmla="*/ 2077638 h 2323145"/>
              <a:gd name="connsiteX173" fmla="*/ 3170922 w 11269336"/>
              <a:gd name="connsiteY173" fmla="*/ 2115957 h 2323145"/>
              <a:gd name="connsiteX174" fmla="*/ 3156256 w 11269336"/>
              <a:gd name="connsiteY174" fmla="*/ 2124773 h 2323145"/>
              <a:gd name="connsiteX175" fmla="*/ 3140298 w 11269336"/>
              <a:gd name="connsiteY175" fmla="*/ 2129182 h 2323145"/>
              <a:gd name="connsiteX176" fmla="*/ 3138514 w 11269336"/>
              <a:gd name="connsiteY176" fmla="*/ 2128069 h 2323145"/>
              <a:gd name="connsiteX177" fmla="*/ 3120467 w 11269336"/>
              <a:gd name="connsiteY177" fmla="*/ 2128281 h 2323145"/>
              <a:gd name="connsiteX178" fmla="*/ 3116175 w 11269336"/>
              <a:gd name="connsiteY178" fmla="*/ 2131633 h 2323145"/>
              <a:gd name="connsiteX179" fmla="*/ 3103685 w 11269336"/>
              <a:gd name="connsiteY179" fmla="*/ 2132814 h 2323145"/>
              <a:gd name="connsiteX180" fmla="*/ 3078794 w 11269336"/>
              <a:gd name="connsiteY180" fmla="*/ 2137935 h 2323145"/>
              <a:gd name="connsiteX181" fmla="*/ 3074407 w 11269336"/>
              <a:gd name="connsiteY181" fmla="*/ 2136274 h 2323145"/>
              <a:gd name="connsiteX182" fmla="*/ 3037285 w 11269336"/>
              <a:gd name="connsiteY182" fmla="*/ 2139919 h 2323145"/>
              <a:gd name="connsiteX183" fmla="*/ 3036901 w 11269336"/>
              <a:gd name="connsiteY183" fmla="*/ 2138726 h 2323145"/>
              <a:gd name="connsiteX184" fmla="*/ 3026996 w 11269336"/>
              <a:gd name="connsiteY184" fmla="*/ 2134322 h 2323145"/>
              <a:gd name="connsiteX185" fmla="*/ 3007772 w 11269336"/>
              <a:gd name="connsiteY185" fmla="*/ 2128742 h 2323145"/>
              <a:gd name="connsiteX186" fmla="*/ 2965030 w 11269336"/>
              <a:gd name="connsiteY186" fmla="*/ 2100494 h 2323145"/>
              <a:gd name="connsiteX187" fmla="*/ 2926342 w 11269336"/>
              <a:gd name="connsiteY187" fmla="*/ 2104155 h 2323145"/>
              <a:gd name="connsiteX188" fmla="*/ 2918608 w 11269336"/>
              <a:gd name="connsiteY188" fmla="*/ 2104215 h 2323145"/>
              <a:gd name="connsiteX189" fmla="*/ 2918475 w 11269336"/>
              <a:gd name="connsiteY189" fmla="*/ 2103937 h 2323145"/>
              <a:gd name="connsiteX190" fmla="*/ 2910360 w 11269336"/>
              <a:gd name="connsiteY190" fmla="*/ 2103444 h 2323145"/>
              <a:gd name="connsiteX191" fmla="*/ 2904507 w 11269336"/>
              <a:gd name="connsiteY191" fmla="*/ 2104326 h 2323145"/>
              <a:gd name="connsiteX192" fmla="*/ 2889503 w 11269336"/>
              <a:gd name="connsiteY192" fmla="*/ 2104443 h 2323145"/>
              <a:gd name="connsiteX193" fmla="*/ 2884480 w 11269336"/>
              <a:gd name="connsiteY193" fmla="*/ 2102626 h 2323145"/>
              <a:gd name="connsiteX194" fmla="*/ 2882689 w 11269336"/>
              <a:gd name="connsiteY194" fmla="*/ 2099228 h 2323145"/>
              <a:gd name="connsiteX195" fmla="*/ 2881291 w 11269336"/>
              <a:gd name="connsiteY195" fmla="*/ 2099618 h 2323145"/>
              <a:gd name="connsiteX196" fmla="*/ 2853979 w 11269336"/>
              <a:gd name="connsiteY196" fmla="*/ 2090388 h 2323145"/>
              <a:gd name="connsiteX197" fmla="*/ 2791790 w 11269336"/>
              <a:gd name="connsiteY197" fmla="*/ 2080332 h 2323145"/>
              <a:gd name="connsiteX198" fmla="*/ 2755844 w 11269336"/>
              <a:gd name="connsiteY198" fmla="*/ 2078874 h 2323145"/>
              <a:gd name="connsiteX199" fmla="*/ 2657742 w 11269336"/>
              <a:gd name="connsiteY199" fmla="*/ 2070179 h 2323145"/>
              <a:gd name="connsiteX200" fmla="*/ 2559549 w 11269336"/>
              <a:gd name="connsiteY200" fmla="*/ 2057873 h 2323145"/>
              <a:gd name="connsiteX201" fmla="*/ 2512054 w 11269336"/>
              <a:gd name="connsiteY201" fmla="*/ 2031671 h 2323145"/>
              <a:gd name="connsiteX202" fmla="*/ 2506437 w 11269336"/>
              <a:gd name="connsiteY202" fmla="*/ 2030918 h 2323145"/>
              <a:gd name="connsiteX203" fmla="*/ 2491752 w 11269336"/>
              <a:gd name="connsiteY203" fmla="*/ 2033906 h 2323145"/>
              <a:gd name="connsiteX204" fmla="*/ 2486338 w 11269336"/>
              <a:gd name="connsiteY204" fmla="*/ 2035862 h 2323145"/>
              <a:gd name="connsiteX205" fmla="*/ 2478186 w 11269336"/>
              <a:gd name="connsiteY205" fmla="*/ 2036953 h 2323145"/>
              <a:gd name="connsiteX206" fmla="*/ 2477950 w 11269336"/>
              <a:gd name="connsiteY206" fmla="*/ 2036715 h 2323145"/>
              <a:gd name="connsiteX207" fmla="*/ 2470381 w 11269336"/>
              <a:gd name="connsiteY207" fmla="*/ 2038256 h 2323145"/>
              <a:gd name="connsiteX208" fmla="*/ 2433781 w 11269336"/>
              <a:gd name="connsiteY208" fmla="*/ 2049140 h 2323145"/>
              <a:gd name="connsiteX209" fmla="*/ 2381172 w 11269336"/>
              <a:gd name="connsiteY209" fmla="*/ 2030645 h 2323145"/>
              <a:gd name="connsiteX210" fmla="*/ 2360198 w 11269336"/>
              <a:gd name="connsiteY210" fmla="*/ 2029059 h 2323145"/>
              <a:gd name="connsiteX211" fmla="*/ 2348815 w 11269336"/>
              <a:gd name="connsiteY211" fmla="*/ 2026798 h 2323145"/>
              <a:gd name="connsiteX212" fmla="*/ 2347988 w 11269336"/>
              <a:gd name="connsiteY212" fmla="*/ 2025745 h 2323145"/>
              <a:gd name="connsiteX213" fmla="*/ 2312920 w 11269336"/>
              <a:gd name="connsiteY213" fmla="*/ 2036311 h 2323145"/>
              <a:gd name="connsiteX214" fmla="*/ 2307986 w 11269336"/>
              <a:gd name="connsiteY214" fmla="*/ 2035583 h 2323145"/>
              <a:gd name="connsiteX215" fmla="*/ 2285481 w 11269336"/>
              <a:gd name="connsiteY215" fmla="*/ 2045197 h 2323145"/>
              <a:gd name="connsiteX216" fmla="*/ 2273666 w 11269336"/>
              <a:gd name="connsiteY216" fmla="*/ 2048710 h 2323145"/>
              <a:gd name="connsiteX217" fmla="*/ 2270719 w 11269336"/>
              <a:gd name="connsiteY217" fmla="*/ 2052702 h 2323145"/>
              <a:gd name="connsiteX218" fmla="*/ 2253080 w 11269336"/>
              <a:gd name="connsiteY218" fmla="*/ 2056363 h 2323145"/>
              <a:gd name="connsiteX219" fmla="*/ 2250906 w 11269336"/>
              <a:gd name="connsiteY219" fmla="*/ 2055654 h 2323145"/>
              <a:gd name="connsiteX220" fmla="*/ 2236905 w 11269336"/>
              <a:gd name="connsiteY220" fmla="*/ 2062882 h 2323145"/>
              <a:gd name="connsiteX221" fmla="*/ 2225830 w 11269336"/>
              <a:gd name="connsiteY221" fmla="*/ 2074027 h 2323145"/>
              <a:gd name="connsiteX222" fmla="*/ 2073776 w 11269336"/>
              <a:gd name="connsiteY222" fmla="*/ 2089244 h 2323145"/>
              <a:gd name="connsiteX223" fmla="*/ 1948256 w 11269336"/>
              <a:gd name="connsiteY223" fmla="*/ 2146616 h 2323145"/>
              <a:gd name="connsiteX224" fmla="*/ 1865582 w 11269336"/>
              <a:gd name="connsiteY224" fmla="*/ 2153738 h 2323145"/>
              <a:gd name="connsiteX225" fmla="*/ 1835210 w 11269336"/>
              <a:gd name="connsiteY225" fmla="*/ 2134244 h 2323145"/>
              <a:gd name="connsiteX226" fmla="*/ 1632661 w 11269336"/>
              <a:gd name="connsiteY226" fmla="*/ 2173882 h 2323145"/>
              <a:gd name="connsiteX227" fmla="*/ 1579590 w 11269336"/>
              <a:gd name="connsiteY227" fmla="*/ 2173680 h 2323145"/>
              <a:gd name="connsiteX228" fmla="*/ 1535601 w 11269336"/>
              <a:gd name="connsiteY228" fmla="*/ 2194590 h 2323145"/>
              <a:gd name="connsiteX229" fmla="*/ 1515594 w 11269336"/>
              <a:gd name="connsiteY229" fmla="*/ 2189622 h 2323145"/>
              <a:gd name="connsiteX230" fmla="*/ 1512113 w 11269336"/>
              <a:gd name="connsiteY230" fmla="*/ 2188534 h 2323145"/>
              <a:gd name="connsiteX231" fmla="*/ 1498838 w 11269336"/>
              <a:gd name="connsiteY231" fmla="*/ 2189213 h 2323145"/>
              <a:gd name="connsiteX232" fmla="*/ 1494279 w 11269336"/>
              <a:gd name="connsiteY232" fmla="*/ 2183112 h 2323145"/>
              <a:gd name="connsiteX233" fmla="*/ 1473714 w 11269336"/>
              <a:gd name="connsiteY233" fmla="*/ 2179625 h 2323145"/>
              <a:gd name="connsiteX234" fmla="*/ 1449503 w 11269336"/>
              <a:gd name="connsiteY234" fmla="*/ 2182633 h 2323145"/>
              <a:gd name="connsiteX235" fmla="*/ 1266687 w 11269336"/>
              <a:gd name="connsiteY235" fmla="*/ 2212688 h 2323145"/>
              <a:gd name="connsiteX236" fmla="*/ 1239614 w 11269336"/>
              <a:gd name="connsiteY236" fmla="*/ 2209727 h 2323145"/>
              <a:gd name="connsiteX237" fmla="*/ 1202436 w 11269336"/>
              <a:gd name="connsiteY237" fmla="*/ 2209817 h 2323145"/>
              <a:gd name="connsiteX238" fmla="*/ 1136097 w 11269336"/>
              <a:gd name="connsiteY238" fmla="*/ 2205112 h 2323145"/>
              <a:gd name="connsiteX239" fmla="*/ 988232 w 11269336"/>
              <a:gd name="connsiteY239" fmla="*/ 2235635 h 2323145"/>
              <a:gd name="connsiteX240" fmla="*/ 981959 w 11269336"/>
              <a:gd name="connsiteY240" fmla="*/ 2231607 h 2323145"/>
              <a:gd name="connsiteX241" fmla="*/ 938600 w 11269336"/>
              <a:gd name="connsiteY241" fmla="*/ 2238113 h 2323145"/>
              <a:gd name="connsiteX242" fmla="*/ 791788 w 11269336"/>
              <a:gd name="connsiteY242" fmla="*/ 2293224 h 2323145"/>
              <a:gd name="connsiteX243" fmla="*/ 706914 w 11269336"/>
              <a:gd name="connsiteY243" fmla="*/ 2305046 h 2323145"/>
              <a:gd name="connsiteX244" fmla="*/ 675971 w 11269336"/>
              <a:gd name="connsiteY244" fmla="*/ 2304030 h 2323145"/>
              <a:gd name="connsiteX245" fmla="*/ 624180 w 11269336"/>
              <a:gd name="connsiteY245" fmla="*/ 2302650 h 2323145"/>
              <a:gd name="connsiteX246" fmla="*/ 583453 w 11269336"/>
              <a:gd name="connsiteY246" fmla="*/ 2288788 h 2323145"/>
              <a:gd name="connsiteX247" fmla="*/ 540946 w 11269336"/>
              <a:gd name="connsiteY247" fmla="*/ 2292721 h 2323145"/>
              <a:gd name="connsiteX248" fmla="*/ 533680 w 11269336"/>
              <a:gd name="connsiteY248" fmla="*/ 2310233 h 2323145"/>
              <a:gd name="connsiteX249" fmla="*/ 487366 w 11269336"/>
              <a:gd name="connsiteY249" fmla="*/ 2309053 h 2323145"/>
              <a:gd name="connsiteX250" fmla="*/ 416820 w 11269336"/>
              <a:gd name="connsiteY250" fmla="*/ 2305443 h 2323145"/>
              <a:gd name="connsiteX251" fmla="*/ 376805 w 11269336"/>
              <a:gd name="connsiteY251" fmla="*/ 2307647 h 2323145"/>
              <a:gd name="connsiteX252" fmla="*/ 266777 w 11269336"/>
              <a:gd name="connsiteY252" fmla="*/ 2309012 h 2323145"/>
              <a:gd name="connsiteX253" fmla="*/ 156013 w 11269336"/>
              <a:gd name="connsiteY253" fmla="*/ 2306832 h 2323145"/>
              <a:gd name="connsiteX254" fmla="*/ 87258 w 11269336"/>
              <a:gd name="connsiteY254" fmla="*/ 2285511 h 2323145"/>
              <a:gd name="connsiteX255" fmla="*/ 23798 w 11269336"/>
              <a:gd name="connsiteY255" fmla="*/ 2281822 h 2323145"/>
              <a:gd name="connsiteX256" fmla="*/ 0 w 11269336"/>
              <a:gd name="connsiteY256" fmla="*/ 2285369 h 2323145"/>
              <a:gd name="connsiteX257" fmla="*/ 0 w 11269336"/>
              <a:gd name="connsiteY257"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92832 w 11269336"/>
              <a:gd name="connsiteY142" fmla="*/ 2188033 h 2323145"/>
              <a:gd name="connsiteX143" fmla="*/ 4467257 w 11269336"/>
              <a:gd name="connsiteY143" fmla="*/ 2196121 h 2323145"/>
              <a:gd name="connsiteX144" fmla="*/ 4459937 w 11269336"/>
              <a:gd name="connsiteY144" fmla="*/ 2195182 h 2323145"/>
              <a:gd name="connsiteX145" fmla="*/ 4433312 w 11269336"/>
              <a:gd name="connsiteY145" fmla="*/ 2199004 h 2323145"/>
              <a:gd name="connsiteX146" fmla="*/ 4405765 w 11269336"/>
              <a:gd name="connsiteY146" fmla="*/ 2199902 h 2323145"/>
              <a:gd name="connsiteX147" fmla="*/ 4401354 w 11269336"/>
              <a:gd name="connsiteY147" fmla="*/ 2194745 h 2323145"/>
              <a:gd name="connsiteX148" fmla="*/ 4366646 w 11269336"/>
              <a:gd name="connsiteY148" fmla="*/ 2198564 h 2323145"/>
              <a:gd name="connsiteX149" fmla="*/ 4354009 w 11269336"/>
              <a:gd name="connsiteY149" fmla="*/ 2204984 h 2323145"/>
              <a:gd name="connsiteX150" fmla="*/ 4348284 w 11269336"/>
              <a:gd name="connsiteY150" fmla="*/ 2205270 h 2323145"/>
              <a:gd name="connsiteX151" fmla="*/ 4333906 w 11269336"/>
              <a:gd name="connsiteY151" fmla="*/ 2205251 h 2323145"/>
              <a:gd name="connsiteX152" fmla="*/ 4308819 w 11269336"/>
              <a:gd name="connsiteY152" fmla="*/ 2203822 h 2323145"/>
              <a:gd name="connsiteX153" fmla="*/ 4301210 w 11269336"/>
              <a:gd name="connsiteY153" fmla="*/ 2204456 h 2323145"/>
              <a:gd name="connsiteX154" fmla="*/ 4283095 w 11269336"/>
              <a:gd name="connsiteY154" fmla="*/ 2198177 h 2323145"/>
              <a:gd name="connsiteX155" fmla="*/ 4250119 w 11269336"/>
              <a:gd name="connsiteY155" fmla="*/ 2196342 h 2323145"/>
              <a:gd name="connsiteX156" fmla="*/ 4189203 w 11269336"/>
              <a:gd name="connsiteY156" fmla="*/ 2178994 h 2323145"/>
              <a:gd name="connsiteX157" fmla="*/ 4154035 w 11269336"/>
              <a:gd name="connsiteY157" fmla="*/ 2171950 h 2323145"/>
              <a:gd name="connsiteX158" fmla="*/ 4129569 w 11269336"/>
              <a:gd name="connsiteY158" fmla="*/ 2163850 h 2323145"/>
              <a:gd name="connsiteX159" fmla="*/ 4061250 w 11269336"/>
              <a:gd name="connsiteY159" fmla="*/ 2159236 h 2323145"/>
              <a:gd name="connsiteX160" fmla="*/ 3945480 w 11269336"/>
              <a:gd name="connsiteY160" fmla="*/ 2158279 h 2323145"/>
              <a:gd name="connsiteX161" fmla="*/ 3921468 w 11269336"/>
              <a:gd name="connsiteY161" fmla="*/ 2156588 h 2323145"/>
              <a:gd name="connsiteX162" fmla="*/ 3903348 w 11269336"/>
              <a:gd name="connsiteY162" fmla="*/ 2149220 h 2323145"/>
              <a:gd name="connsiteX163" fmla="*/ 3901342 w 11269336"/>
              <a:gd name="connsiteY163" fmla="*/ 2142355 h 2323145"/>
              <a:gd name="connsiteX164" fmla="*/ 3888539 w 11269336"/>
              <a:gd name="connsiteY164" fmla="*/ 2140476 h 2323145"/>
              <a:gd name="connsiteX165" fmla="*/ 3885662 w 11269336"/>
              <a:gd name="connsiteY165" fmla="*/ 2138740 h 2323145"/>
              <a:gd name="connsiteX166" fmla="*/ 3868627 w 11269336"/>
              <a:gd name="connsiteY166" fmla="*/ 2130023 h 2323145"/>
              <a:gd name="connsiteX167" fmla="*/ 3819177 w 11269336"/>
              <a:gd name="connsiteY167" fmla="*/ 2142111 h 2323145"/>
              <a:gd name="connsiteX168" fmla="*/ 3769100 w 11269336"/>
              <a:gd name="connsiteY168" fmla="*/ 2131731 h 2323145"/>
              <a:gd name="connsiteX169" fmla="*/ 3562752 w 11269336"/>
              <a:gd name="connsiteY169" fmla="*/ 2131785 h 2323145"/>
              <a:gd name="connsiteX170" fmla="*/ 3541402 w 11269336"/>
              <a:gd name="connsiteY170" fmla="*/ 2106821 h 2323145"/>
              <a:gd name="connsiteX171" fmla="*/ 3365341 w 11269336"/>
              <a:gd name="connsiteY171" fmla="*/ 2077638 h 2323145"/>
              <a:gd name="connsiteX172" fmla="*/ 3170922 w 11269336"/>
              <a:gd name="connsiteY172" fmla="*/ 2115957 h 2323145"/>
              <a:gd name="connsiteX173" fmla="*/ 3156256 w 11269336"/>
              <a:gd name="connsiteY173" fmla="*/ 2124773 h 2323145"/>
              <a:gd name="connsiteX174" fmla="*/ 3140298 w 11269336"/>
              <a:gd name="connsiteY174" fmla="*/ 2129182 h 2323145"/>
              <a:gd name="connsiteX175" fmla="*/ 3138514 w 11269336"/>
              <a:gd name="connsiteY175" fmla="*/ 2128069 h 2323145"/>
              <a:gd name="connsiteX176" fmla="*/ 3120467 w 11269336"/>
              <a:gd name="connsiteY176" fmla="*/ 2128281 h 2323145"/>
              <a:gd name="connsiteX177" fmla="*/ 3116175 w 11269336"/>
              <a:gd name="connsiteY177" fmla="*/ 2131633 h 2323145"/>
              <a:gd name="connsiteX178" fmla="*/ 3103685 w 11269336"/>
              <a:gd name="connsiteY178" fmla="*/ 2132814 h 2323145"/>
              <a:gd name="connsiteX179" fmla="*/ 3078794 w 11269336"/>
              <a:gd name="connsiteY179" fmla="*/ 2137935 h 2323145"/>
              <a:gd name="connsiteX180" fmla="*/ 3074407 w 11269336"/>
              <a:gd name="connsiteY180" fmla="*/ 2136274 h 2323145"/>
              <a:gd name="connsiteX181" fmla="*/ 3037285 w 11269336"/>
              <a:gd name="connsiteY181" fmla="*/ 2139919 h 2323145"/>
              <a:gd name="connsiteX182" fmla="*/ 3036901 w 11269336"/>
              <a:gd name="connsiteY182" fmla="*/ 2138726 h 2323145"/>
              <a:gd name="connsiteX183" fmla="*/ 3026996 w 11269336"/>
              <a:gd name="connsiteY183" fmla="*/ 2134322 h 2323145"/>
              <a:gd name="connsiteX184" fmla="*/ 3007772 w 11269336"/>
              <a:gd name="connsiteY184" fmla="*/ 2128742 h 2323145"/>
              <a:gd name="connsiteX185" fmla="*/ 2965030 w 11269336"/>
              <a:gd name="connsiteY185" fmla="*/ 2100494 h 2323145"/>
              <a:gd name="connsiteX186" fmla="*/ 2926342 w 11269336"/>
              <a:gd name="connsiteY186" fmla="*/ 2104155 h 2323145"/>
              <a:gd name="connsiteX187" fmla="*/ 2918608 w 11269336"/>
              <a:gd name="connsiteY187" fmla="*/ 2104215 h 2323145"/>
              <a:gd name="connsiteX188" fmla="*/ 2918475 w 11269336"/>
              <a:gd name="connsiteY188" fmla="*/ 2103937 h 2323145"/>
              <a:gd name="connsiteX189" fmla="*/ 2910360 w 11269336"/>
              <a:gd name="connsiteY189" fmla="*/ 2103444 h 2323145"/>
              <a:gd name="connsiteX190" fmla="*/ 2904507 w 11269336"/>
              <a:gd name="connsiteY190" fmla="*/ 2104326 h 2323145"/>
              <a:gd name="connsiteX191" fmla="*/ 2889503 w 11269336"/>
              <a:gd name="connsiteY191" fmla="*/ 2104443 h 2323145"/>
              <a:gd name="connsiteX192" fmla="*/ 2884480 w 11269336"/>
              <a:gd name="connsiteY192" fmla="*/ 2102626 h 2323145"/>
              <a:gd name="connsiteX193" fmla="*/ 2882689 w 11269336"/>
              <a:gd name="connsiteY193" fmla="*/ 2099228 h 2323145"/>
              <a:gd name="connsiteX194" fmla="*/ 2881291 w 11269336"/>
              <a:gd name="connsiteY194" fmla="*/ 2099618 h 2323145"/>
              <a:gd name="connsiteX195" fmla="*/ 2853979 w 11269336"/>
              <a:gd name="connsiteY195" fmla="*/ 2090388 h 2323145"/>
              <a:gd name="connsiteX196" fmla="*/ 2791790 w 11269336"/>
              <a:gd name="connsiteY196" fmla="*/ 2080332 h 2323145"/>
              <a:gd name="connsiteX197" fmla="*/ 2755844 w 11269336"/>
              <a:gd name="connsiteY197" fmla="*/ 2078874 h 2323145"/>
              <a:gd name="connsiteX198" fmla="*/ 2657742 w 11269336"/>
              <a:gd name="connsiteY198" fmla="*/ 2070179 h 2323145"/>
              <a:gd name="connsiteX199" fmla="*/ 2559549 w 11269336"/>
              <a:gd name="connsiteY199" fmla="*/ 2057873 h 2323145"/>
              <a:gd name="connsiteX200" fmla="*/ 2512054 w 11269336"/>
              <a:gd name="connsiteY200" fmla="*/ 2031671 h 2323145"/>
              <a:gd name="connsiteX201" fmla="*/ 2506437 w 11269336"/>
              <a:gd name="connsiteY201" fmla="*/ 2030918 h 2323145"/>
              <a:gd name="connsiteX202" fmla="*/ 2491752 w 11269336"/>
              <a:gd name="connsiteY202" fmla="*/ 2033906 h 2323145"/>
              <a:gd name="connsiteX203" fmla="*/ 2486338 w 11269336"/>
              <a:gd name="connsiteY203" fmla="*/ 2035862 h 2323145"/>
              <a:gd name="connsiteX204" fmla="*/ 2478186 w 11269336"/>
              <a:gd name="connsiteY204" fmla="*/ 2036953 h 2323145"/>
              <a:gd name="connsiteX205" fmla="*/ 2477950 w 11269336"/>
              <a:gd name="connsiteY205" fmla="*/ 2036715 h 2323145"/>
              <a:gd name="connsiteX206" fmla="*/ 2470381 w 11269336"/>
              <a:gd name="connsiteY206" fmla="*/ 2038256 h 2323145"/>
              <a:gd name="connsiteX207" fmla="*/ 2433781 w 11269336"/>
              <a:gd name="connsiteY207" fmla="*/ 2049140 h 2323145"/>
              <a:gd name="connsiteX208" fmla="*/ 2381172 w 11269336"/>
              <a:gd name="connsiteY208" fmla="*/ 2030645 h 2323145"/>
              <a:gd name="connsiteX209" fmla="*/ 2360198 w 11269336"/>
              <a:gd name="connsiteY209" fmla="*/ 2029059 h 2323145"/>
              <a:gd name="connsiteX210" fmla="*/ 2348815 w 11269336"/>
              <a:gd name="connsiteY210" fmla="*/ 2026798 h 2323145"/>
              <a:gd name="connsiteX211" fmla="*/ 2347988 w 11269336"/>
              <a:gd name="connsiteY211" fmla="*/ 2025745 h 2323145"/>
              <a:gd name="connsiteX212" fmla="*/ 2312920 w 11269336"/>
              <a:gd name="connsiteY212" fmla="*/ 2036311 h 2323145"/>
              <a:gd name="connsiteX213" fmla="*/ 2307986 w 11269336"/>
              <a:gd name="connsiteY213" fmla="*/ 2035583 h 2323145"/>
              <a:gd name="connsiteX214" fmla="*/ 2285481 w 11269336"/>
              <a:gd name="connsiteY214" fmla="*/ 2045197 h 2323145"/>
              <a:gd name="connsiteX215" fmla="*/ 2273666 w 11269336"/>
              <a:gd name="connsiteY215" fmla="*/ 2048710 h 2323145"/>
              <a:gd name="connsiteX216" fmla="*/ 2270719 w 11269336"/>
              <a:gd name="connsiteY216" fmla="*/ 2052702 h 2323145"/>
              <a:gd name="connsiteX217" fmla="*/ 2253080 w 11269336"/>
              <a:gd name="connsiteY217" fmla="*/ 2056363 h 2323145"/>
              <a:gd name="connsiteX218" fmla="*/ 2250906 w 11269336"/>
              <a:gd name="connsiteY218" fmla="*/ 2055654 h 2323145"/>
              <a:gd name="connsiteX219" fmla="*/ 2236905 w 11269336"/>
              <a:gd name="connsiteY219" fmla="*/ 2062882 h 2323145"/>
              <a:gd name="connsiteX220" fmla="*/ 2225830 w 11269336"/>
              <a:gd name="connsiteY220" fmla="*/ 2074027 h 2323145"/>
              <a:gd name="connsiteX221" fmla="*/ 2073776 w 11269336"/>
              <a:gd name="connsiteY221" fmla="*/ 2089244 h 2323145"/>
              <a:gd name="connsiteX222" fmla="*/ 1948256 w 11269336"/>
              <a:gd name="connsiteY222" fmla="*/ 2146616 h 2323145"/>
              <a:gd name="connsiteX223" fmla="*/ 1865582 w 11269336"/>
              <a:gd name="connsiteY223" fmla="*/ 2153738 h 2323145"/>
              <a:gd name="connsiteX224" fmla="*/ 1835210 w 11269336"/>
              <a:gd name="connsiteY224" fmla="*/ 2134244 h 2323145"/>
              <a:gd name="connsiteX225" fmla="*/ 1632661 w 11269336"/>
              <a:gd name="connsiteY225" fmla="*/ 2173882 h 2323145"/>
              <a:gd name="connsiteX226" fmla="*/ 1579590 w 11269336"/>
              <a:gd name="connsiteY226" fmla="*/ 2173680 h 2323145"/>
              <a:gd name="connsiteX227" fmla="*/ 1535601 w 11269336"/>
              <a:gd name="connsiteY227" fmla="*/ 2194590 h 2323145"/>
              <a:gd name="connsiteX228" fmla="*/ 1515594 w 11269336"/>
              <a:gd name="connsiteY228" fmla="*/ 2189622 h 2323145"/>
              <a:gd name="connsiteX229" fmla="*/ 1512113 w 11269336"/>
              <a:gd name="connsiteY229" fmla="*/ 2188534 h 2323145"/>
              <a:gd name="connsiteX230" fmla="*/ 1498838 w 11269336"/>
              <a:gd name="connsiteY230" fmla="*/ 2189213 h 2323145"/>
              <a:gd name="connsiteX231" fmla="*/ 1494279 w 11269336"/>
              <a:gd name="connsiteY231" fmla="*/ 2183112 h 2323145"/>
              <a:gd name="connsiteX232" fmla="*/ 1473714 w 11269336"/>
              <a:gd name="connsiteY232" fmla="*/ 2179625 h 2323145"/>
              <a:gd name="connsiteX233" fmla="*/ 1449503 w 11269336"/>
              <a:gd name="connsiteY233" fmla="*/ 2182633 h 2323145"/>
              <a:gd name="connsiteX234" fmla="*/ 1266687 w 11269336"/>
              <a:gd name="connsiteY234" fmla="*/ 2212688 h 2323145"/>
              <a:gd name="connsiteX235" fmla="*/ 1239614 w 11269336"/>
              <a:gd name="connsiteY235" fmla="*/ 2209727 h 2323145"/>
              <a:gd name="connsiteX236" fmla="*/ 1202436 w 11269336"/>
              <a:gd name="connsiteY236" fmla="*/ 2209817 h 2323145"/>
              <a:gd name="connsiteX237" fmla="*/ 1136097 w 11269336"/>
              <a:gd name="connsiteY237" fmla="*/ 2205112 h 2323145"/>
              <a:gd name="connsiteX238" fmla="*/ 988232 w 11269336"/>
              <a:gd name="connsiteY238" fmla="*/ 2235635 h 2323145"/>
              <a:gd name="connsiteX239" fmla="*/ 981959 w 11269336"/>
              <a:gd name="connsiteY239" fmla="*/ 2231607 h 2323145"/>
              <a:gd name="connsiteX240" fmla="*/ 938600 w 11269336"/>
              <a:gd name="connsiteY240" fmla="*/ 2238113 h 2323145"/>
              <a:gd name="connsiteX241" fmla="*/ 791788 w 11269336"/>
              <a:gd name="connsiteY241" fmla="*/ 2293224 h 2323145"/>
              <a:gd name="connsiteX242" fmla="*/ 706914 w 11269336"/>
              <a:gd name="connsiteY242" fmla="*/ 2305046 h 2323145"/>
              <a:gd name="connsiteX243" fmla="*/ 675971 w 11269336"/>
              <a:gd name="connsiteY243" fmla="*/ 2304030 h 2323145"/>
              <a:gd name="connsiteX244" fmla="*/ 624180 w 11269336"/>
              <a:gd name="connsiteY244" fmla="*/ 2302650 h 2323145"/>
              <a:gd name="connsiteX245" fmla="*/ 583453 w 11269336"/>
              <a:gd name="connsiteY245" fmla="*/ 2288788 h 2323145"/>
              <a:gd name="connsiteX246" fmla="*/ 540946 w 11269336"/>
              <a:gd name="connsiteY246" fmla="*/ 2292721 h 2323145"/>
              <a:gd name="connsiteX247" fmla="*/ 533680 w 11269336"/>
              <a:gd name="connsiteY247" fmla="*/ 2310233 h 2323145"/>
              <a:gd name="connsiteX248" fmla="*/ 487366 w 11269336"/>
              <a:gd name="connsiteY248" fmla="*/ 2309053 h 2323145"/>
              <a:gd name="connsiteX249" fmla="*/ 416820 w 11269336"/>
              <a:gd name="connsiteY249" fmla="*/ 2305443 h 2323145"/>
              <a:gd name="connsiteX250" fmla="*/ 376805 w 11269336"/>
              <a:gd name="connsiteY250" fmla="*/ 2307647 h 2323145"/>
              <a:gd name="connsiteX251" fmla="*/ 266777 w 11269336"/>
              <a:gd name="connsiteY251" fmla="*/ 2309012 h 2323145"/>
              <a:gd name="connsiteX252" fmla="*/ 156013 w 11269336"/>
              <a:gd name="connsiteY252" fmla="*/ 2306832 h 2323145"/>
              <a:gd name="connsiteX253" fmla="*/ 87258 w 11269336"/>
              <a:gd name="connsiteY253" fmla="*/ 2285511 h 2323145"/>
              <a:gd name="connsiteX254" fmla="*/ 23798 w 11269336"/>
              <a:gd name="connsiteY254" fmla="*/ 2281822 h 2323145"/>
              <a:gd name="connsiteX255" fmla="*/ 0 w 11269336"/>
              <a:gd name="connsiteY255" fmla="*/ 2285369 h 2323145"/>
              <a:gd name="connsiteX256" fmla="*/ 0 w 11269336"/>
              <a:gd name="connsiteY256"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92832 w 11269336"/>
              <a:gd name="connsiteY142" fmla="*/ 2188033 h 2323145"/>
              <a:gd name="connsiteX143" fmla="*/ 4467257 w 11269336"/>
              <a:gd name="connsiteY143" fmla="*/ 2196121 h 2323145"/>
              <a:gd name="connsiteX144" fmla="*/ 4459937 w 11269336"/>
              <a:gd name="connsiteY144" fmla="*/ 2195182 h 2323145"/>
              <a:gd name="connsiteX145" fmla="*/ 4405765 w 11269336"/>
              <a:gd name="connsiteY145" fmla="*/ 2199902 h 2323145"/>
              <a:gd name="connsiteX146" fmla="*/ 4401354 w 11269336"/>
              <a:gd name="connsiteY146" fmla="*/ 2194745 h 2323145"/>
              <a:gd name="connsiteX147" fmla="*/ 4366646 w 11269336"/>
              <a:gd name="connsiteY147" fmla="*/ 2198564 h 2323145"/>
              <a:gd name="connsiteX148" fmla="*/ 4354009 w 11269336"/>
              <a:gd name="connsiteY148" fmla="*/ 2204984 h 2323145"/>
              <a:gd name="connsiteX149" fmla="*/ 4348284 w 11269336"/>
              <a:gd name="connsiteY149" fmla="*/ 2205270 h 2323145"/>
              <a:gd name="connsiteX150" fmla="*/ 4333906 w 11269336"/>
              <a:gd name="connsiteY150" fmla="*/ 2205251 h 2323145"/>
              <a:gd name="connsiteX151" fmla="*/ 4308819 w 11269336"/>
              <a:gd name="connsiteY151" fmla="*/ 2203822 h 2323145"/>
              <a:gd name="connsiteX152" fmla="*/ 4301210 w 11269336"/>
              <a:gd name="connsiteY152" fmla="*/ 2204456 h 2323145"/>
              <a:gd name="connsiteX153" fmla="*/ 4283095 w 11269336"/>
              <a:gd name="connsiteY153" fmla="*/ 2198177 h 2323145"/>
              <a:gd name="connsiteX154" fmla="*/ 4250119 w 11269336"/>
              <a:gd name="connsiteY154" fmla="*/ 2196342 h 2323145"/>
              <a:gd name="connsiteX155" fmla="*/ 4189203 w 11269336"/>
              <a:gd name="connsiteY155" fmla="*/ 2178994 h 2323145"/>
              <a:gd name="connsiteX156" fmla="*/ 4154035 w 11269336"/>
              <a:gd name="connsiteY156" fmla="*/ 2171950 h 2323145"/>
              <a:gd name="connsiteX157" fmla="*/ 4129569 w 11269336"/>
              <a:gd name="connsiteY157" fmla="*/ 2163850 h 2323145"/>
              <a:gd name="connsiteX158" fmla="*/ 4061250 w 11269336"/>
              <a:gd name="connsiteY158" fmla="*/ 2159236 h 2323145"/>
              <a:gd name="connsiteX159" fmla="*/ 3945480 w 11269336"/>
              <a:gd name="connsiteY159" fmla="*/ 2158279 h 2323145"/>
              <a:gd name="connsiteX160" fmla="*/ 3921468 w 11269336"/>
              <a:gd name="connsiteY160" fmla="*/ 2156588 h 2323145"/>
              <a:gd name="connsiteX161" fmla="*/ 3903348 w 11269336"/>
              <a:gd name="connsiteY161" fmla="*/ 2149220 h 2323145"/>
              <a:gd name="connsiteX162" fmla="*/ 3901342 w 11269336"/>
              <a:gd name="connsiteY162" fmla="*/ 2142355 h 2323145"/>
              <a:gd name="connsiteX163" fmla="*/ 3888539 w 11269336"/>
              <a:gd name="connsiteY163" fmla="*/ 2140476 h 2323145"/>
              <a:gd name="connsiteX164" fmla="*/ 3885662 w 11269336"/>
              <a:gd name="connsiteY164" fmla="*/ 2138740 h 2323145"/>
              <a:gd name="connsiteX165" fmla="*/ 3868627 w 11269336"/>
              <a:gd name="connsiteY165" fmla="*/ 2130023 h 2323145"/>
              <a:gd name="connsiteX166" fmla="*/ 3819177 w 11269336"/>
              <a:gd name="connsiteY166" fmla="*/ 2142111 h 2323145"/>
              <a:gd name="connsiteX167" fmla="*/ 3769100 w 11269336"/>
              <a:gd name="connsiteY167" fmla="*/ 2131731 h 2323145"/>
              <a:gd name="connsiteX168" fmla="*/ 3562752 w 11269336"/>
              <a:gd name="connsiteY168" fmla="*/ 2131785 h 2323145"/>
              <a:gd name="connsiteX169" fmla="*/ 3541402 w 11269336"/>
              <a:gd name="connsiteY169" fmla="*/ 2106821 h 2323145"/>
              <a:gd name="connsiteX170" fmla="*/ 3365341 w 11269336"/>
              <a:gd name="connsiteY170" fmla="*/ 2077638 h 2323145"/>
              <a:gd name="connsiteX171" fmla="*/ 3170922 w 11269336"/>
              <a:gd name="connsiteY171" fmla="*/ 2115957 h 2323145"/>
              <a:gd name="connsiteX172" fmla="*/ 3156256 w 11269336"/>
              <a:gd name="connsiteY172" fmla="*/ 2124773 h 2323145"/>
              <a:gd name="connsiteX173" fmla="*/ 3140298 w 11269336"/>
              <a:gd name="connsiteY173" fmla="*/ 2129182 h 2323145"/>
              <a:gd name="connsiteX174" fmla="*/ 3138514 w 11269336"/>
              <a:gd name="connsiteY174" fmla="*/ 2128069 h 2323145"/>
              <a:gd name="connsiteX175" fmla="*/ 3120467 w 11269336"/>
              <a:gd name="connsiteY175" fmla="*/ 2128281 h 2323145"/>
              <a:gd name="connsiteX176" fmla="*/ 3116175 w 11269336"/>
              <a:gd name="connsiteY176" fmla="*/ 2131633 h 2323145"/>
              <a:gd name="connsiteX177" fmla="*/ 3103685 w 11269336"/>
              <a:gd name="connsiteY177" fmla="*/ 2132814 h 2323145"/>
              <a:gd name="connsiteX178" fmla="*/ 3078794 w 11269336"/>
              <a:gd name="connsiteY178" fmla="*/ 2137935 h 2323145"/>
              <a:gd name="connsiteX179" fmla="*/ 3074407 w 11269336"/>
              <a:gd name="connsiteY179" fmla="*/ 2136274 h 2323145"/>
              <a:gd name="connsiteX180" fmla="*/ 3037285 w 11269336"/>
              <a:gd name="connsiteY180" fmla="*/ 2139919 h 2323145"/>
              <a:gd name="connsiteX181" fmla="*/ 3036901 w 11269336"/>
              <a:gd name="connsiteY181" fmla="*/ 2138726 h 2323145"/>
              <a:gd name="connsiteX182" fmla="*/ 3026996 w 11269336"/>
              <a:gd name="connsiteY182" fmla="*/ 2134322 h 2323145"/>
              <a:gd name="connsiteX183" fmla="*/ 3007772 w 11269336"/>
              <a:gd name="connsiteY183" fmla="*/ 2128742 h 2323145"/>
              <a:gd name="connsiteX184" fmla="*/ 2965030 w 11269336"/>
              <a:gd name="connsiteY184" fmla="*/ 2100494 h 2323145"/>
              <a:gd name="connsiteX185" fmla="*/ 2926342 w 11269336"/>
              <a:gd name="connsiteY185" fmla="*/ 2104155 h 2323145"/>
              <a:gd name="connsiteX186" fmla="*/ 2918608 w 11269336"/>
              <a:gd name="connsiteY186" fmla="*/ 2104215 h 2323145"/>
              <a:gd name="connsiteX187" fmla="*/ 2918475 w 11269336"/>
              <a:gd name="connsiteY187" fmla="*/ 2103937 h 2323145"/>
              <a:gd name="connsiteX188" fmla="*/ 2910360 w 11269336"/>
              <a:gd name="connsiteY188" fmla="*/ 2103444 h 2323145"/>
              <a:gd name="connsiteX189" fmla="*/ 2904507 w 11269336"/>
              <a:gd name="connsiteY189" fmla="*/ 2104326 h 2323145"/>
              <a:gd name="connsiteX190" fmla="*/ 2889503 w 11269336"/>
              <a:gd name="connsiteY190" fmla="*/ 2104443 h 2323145"/>
              <a:gd name="connsiteX191" fmla="*/ 2884480 w 11269336"/>
              <a:gd name="connsiteY191" fmla="*/ 2102626 h 2323145"/>
              <a:gd name="connsiteX192" fmla="*/ 2882689 w 11269336"/>
              <a:gd name="connsiteY192" fmla="*/ 2099228 h 2323145"/>
              <a:gd name="connsiteX193" fmla="*/ 2881291 w 11269336"/>
              <a:gd name="connsiteY193" fmla="*/ 2099618 h 2323145"/>
              <a:gd name="connsiteX194" fmla="*/ 2853979 w 11269336"/>
              <a:gd name="connsiteY194" fmla="*/ 2090388 h 2323145"/>
              <a:gd name="connsiteX195" fmla="*/ 2791790 w 11269336"/>
              <a:gd name="connsiteY195" fmla="*/ 2080332 h 2323145"/>
              <a:gd name="connsiteX196" fmla="*/ 2755844 w 11269336"/>
              <a:gd name="connsiteY196" fmla="*/ 2078874 h 2323145"/>
              <a:gd name="connsiteX197" fmla="*/ 2657742 w 11269336"/>
              <a:gd name="connsiteY197" fmla="*/ 2070179 h 2323145"/>
              <a:gd name="connsiteX198" fmla="*/ 2559549 w 11269336"/>
              <a:gd name="connsiteY198" fmla="*/ 2057873 h 2323145"/>
              <a:gd name="connsiteX199" fmla="*/ 2512054 w 11269336"/>
              <a:gd name="connsiteY199" fmla="*/ 2031671 h 2323145"/>
              <a:gd name="connsiteX200" fmla="*/ 2506437 w 11269336"/>
              <a:gd name="connsiteY200" fmla="*/ 2030918 h 2323145"/>
              <a:gd name="connsiteX201" fmla="*/ 2491752 w 11269336"/>
              <a:gd name="connsiteY201" fmla="*/ 2033906 h 2323145"/>
              <a:gd name="connsiteX202" fmla="*/ 2486338 w 11269336"/>
              <a:gd name="connsiteY202" fmla="*/ 2035862 h 2323145"/>
              <a:gd name="connsiteX203" fmla="*/ 2478186 w 11269336"/>
              <a:gd name="connsiteY203" fmla="*/ 2036953 h 2323145"/>
              <a:gd name="connsiteX204" fmla="*/ 2477950 w 11269336"/>
              <a:gd name="connsiteY204" fmla="*/ 2036715 h 2323145"/>
              <a:gd name="connsiteX205" fmla="*/ 2470381 w 11269336"/>
              <a:gd name="connsiteY205" fmla="*/ 2038256 h 2323145"/>
              <a:gd name="connsiteX206" fmla="*/ 2433781 w 11269336"/>
              <a:gd name="connsiteY206" fmla="*/ 2049140 h 2323145"/>
              <a:gd name="connsiteX207" fmla="*/ 2381172 w 11269336"/>
              <a:gd name="connsiteY207" fmla="*/ 2030645 h 2323145"/>
              <a:gd name="connsiteX208" fmla="*/ 2360198 w 11269336"/>
              <a:gd name="connsiteY208" fmla="*/ 2029059 h 2323145"/>
              <a:gd name="connsiteX209" fmla="*/ 2348815 w 11269336"/>
              <a:gd name="connsiteY209" fmla="*/ 2026798 h 2323145"/>
              <a:gd name="connsiteX210" fmla="*/ 2347988 w 11269336"/>
              <a:gd name="connsiteY210" fmla="*/ 2025745 h 2323145"/>
              <a:gd name="connsiteX211" fmla="*/ 2312920 w 11269336"/>
              <a:gd name="connsiteY211" fmla="*/ 2036311 h 2323145"/>
              <a:gd name="connsiteX212" fmla="*/ 2307986 w 11269336"/>
              <a:gd name="connsiteY212" fmla="*/ 2035583 h 2323145"/>
              <a:gd name="connsiteX213" fmla="*/ 2285481 w 11269336"/>
              <a:gd name="connsiteY213" fmla="*/ 2045197 h 2323145"/>
              <a:gd name="connsiteX214" fmla="*/ 2273666 w 11269336"/>
              <a:gd name="connsiteY214" fmla="*/ 2048710 h 2323145"/>
              <a:gd name="connsiteX215" fmla="*/ 2270719 w 11269336"/>
              <a:gd name="connsiteY215" fmla="*/ 2052702 h 2323145"/>
              <a:gd name="connsiteX216" fmla="*/ 2253080 w 11269336"/>
              <a:gd name="connsiteY216" fmla="*/ 2056363 h 2323145"/>
              <a:gd name="connsiteX217" fmla="*/ 2250906 w 11269336"/>
              <a:gd name="connsiteY217" fmla="*/ 2055654 h 2323145"/>
              <a:gd name="connsiteX218" fmla="*/ 2236905 w 11269336"/>
              <a:gd name="connsiteY218" fmla="*/ 2062882 h 2323145"/>
              <a:gd name="connsiteX219" fmla="*/ 2225830 w 11269336"/>
              <a:gd name="connsiteY219" fmla="*/ 2074027 h 2323145"/>
              <a:gd name="connsiteX220" fmla="*/ 2073776 w 11269336"/>
              <a:gd name="connsiteY220" fmla="*/ 2089244 h 2323145"/>
              <a:gd name="connsiteX221" fmla="*/ 1948256 w 11269336"/>
              <a:gd name="connsiteY221" fmla="*/ 2146616 h 2323145"/>
              <a:gd name="connsiteX222" fmla="*/ 1865582 w 11269336"/>
              <a:gd name="connsiteY222" fmla="*/ 2153738 h 2323145"/>
              <a:gd name="connsiteX223" fmla="*/ 1835210 w 11269336"/>
              <a:gd name="connsiteY223" fmla="*/ 2134244 h 2323145"/>
              <a:gd name="connsiteX224" fmla="*/ 1632661 w 11269336"/>
              <a:gd name="connsiteY224" fmla="*/ 2173882 h 2323145"/>
              <a:gd name="connsiteX225" fmla="*/ 1579590 w 11269336"/>
              <a:gd name="connsiteY225" fmla="*/ 2173680 h 2323145"/>
              <a:gd name="connsiteX226" fmla="*/ 1535601 w 11269336"/>
              <a:gd name="connsiteY226" fmla="*/ 2194590 h 2323145"/>
              <a:gd name="connsiteX227" fmla="*/ 1515594 w 11269336"/>
              <a:gd name="connsiteY227" fmla="*/ 2189622 h 2323145"/>
              <a:gd name="connsiteX228" fmla="*/ 1512113 w 11269336"/>
              <a:gd name="connsiteY228" fmla="*/ 2188534 h 2323145"/>
              <a:gd name="connsiteX229" fmla="*/ 1498838 w 11269336"/>
              <a:gd name="connsiteY229" fmla="*/ 2189213 h 2323145"/>
              <a:gd name="connsiteX230" fmla="*/ 1494279 w 11269336"/>
              <a:gd name="connsiteY230" fmla="*/ 2183112 h 2323145"/>
              <a:gd name="connsiteX231" fmla="*/ 1473714 w 11269336"/>
              <a:gd name="connsiteY231" fmla="*/ 2179625 h 2323145"/>
              <a:gd name="connsiteX232" fmla="*/ 1449503 w 11269336"/>
              <a:gd name="connsiteY232" fmla="*/ 2182633 h 2323145"/>
              <a:gd name="connsiteX233" fmla="*/ 1266687 w 11269336"/>
              <a:gd name="connsiteY233" fmla="*/ 2212688 h 2323145"/>
              <a:gd name="connsiteX234" fmla="*/ 1239614 w 11269336"/>
              <a:gd name="connsiteY234" fmla="*/ 2209727 h 2323145"/>
              <a:gd name="connsiteX235" fmla="*/ 1202436 w 11269336"/>
              <a:gd name="connsiteY235" fmla="*/ 2209817 h 2323145"/>
              <a:gd name="connsiteX236" fmla="*/ 1136097 w 11269336"/>
              <a:gd name="connsiteY236" fmla="*/ 2205112 h 2323145"/>
              <a:gd name="connsiteX237" fmla="*/ 988232 w 11269336"/>
              <a:gd name="connsiteY237" fmla="*/ 2235635 h 2323145"/>
              <a:gd name="connsiteX238" fmla="*/ 981959 w 11269336"/>
              <a:gd name="connsiteY238" fmla="*/ 2231607 h 2323145"/>
              <a:gd name="connsiteX239" fmla="*/ 938600 w 11269336"/>
              <a:gd name="connsiteY239" fmla="*/ 2238113 h 2323145"/>
              <a:gd name="connsiteX240" fmla="*/ 791788 w 11269336"/>
              <a:gd name="connsiteY240" fmla="*/ 2293224 h 2323145"/>
              <a:gd name="connsiteX241" fmla="*/ 706914 w 11269336"/>
              <a:gd name="connsiteY241" fmla="*/ 2305046 h 2323145"/>
              <a:gd name="connsiteX242" fmla="*/ 675971 w 11269336"/>
              <a:gd name="connsiteY242" fmla="*/ 2304030 h 2323145"/>
              <a:gd name="connsiteX243" fmla="*/ 624180 w 11269336"/>
              <a:gd name="connsiteY243" fmla="*/ 2302650 h 2323145"/>
              <a:gd name="connsiteX244" fmla="*/ 583453 w 11269336"/>
              <a:gd name="connsiteY244" fmla="*/ 2288788 h 2323145"/>
              <a:gd name="connsiteX245" fmla="*/ 540946 w 11269336"/>
              <a:gd name="connsiteY245" fmla="*/ 2292721 h 2323145"/>
              <a:gd name="connsiteX246" fmla="*/ 533680 w 11269336"/>
              <a:gd name="connsiteY246" fmla="*/ 2310233 h 2323145"/>
              <a:gd name="connsiteX247" fmla="*/ 487366 w 11269336"/>
              <a:gd name="connsiteY247" fmla="*/ 2309053 h 2323145"/>
              <a:gd name="connsiteX248" fmla="*/ 416820 w 11269336"/>
              <a:gd name="connsiteY248" fmla="*/ 2305443 h 2323145"/>
              <a:gd name="connsiteX249" fmla="*/ 376805 w 11269336"/>
              <a:gd name="connsiteY249" fmla="*/ 2307647 h 2323145"/>
              <a:gd name="connsiteX250" fmla="*/ 266777 w 11269336"/>
              <a:gd name="connsiteY250" fmla="*/ 2309012 h 2323145"/>
              <a:gd name="connsiteX251" fmla="*/ 156013 w 11269336"/>
              <a:gd name="connsiteY251" fmla="*/ 2306832 h 2323145"/>
              <a:gd name="connsiteX252" fmla="*/ 87258 w 11269336"/>
              <a:gd name="connsiteY252" fmla="*/ 2285511 h 2323145"/>
              <a:gd name="connsiteX253" fmla="*/ 23798 w 11269336"/>
              <a:gd name="connsiteY253" fmla="*/ 2281822 h 2323145"/>
              <a:gd name="connsiteX254" fmla="*/ 0 w 11269336"/>
              <a:gd name="connsiteY254" fmla="*/ 2285369 h 2323145"/>
              <a:gd name="connsiteX255" fmla="*/ 0 w 11269336"/>
              <a:gd name="connsiteY255"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92832 w 11269336"/>
              <a:gd name="connsiteY142" fmla="*/ 2188033 h 2323145"/>
              <a:gd name="connsiteX143" fmla="*/ 4467257 w 11269336"/>
              <a:gd name="connsiteY143" fmla="*/ 2196121 h 2323145"/>
              <a:gd name="connsiteX144" fmla="*/ 4405765 w 11269336"/>
              <a:gd name="connsiteY144" fmla="*/ 2199902 h 2323145"/>
              <a:gd name="connsiteX145" fmla="*/ 4401354 w 11269336"/>
              <a:gd name="connsiteY145" fmla="*/ 2194745 h 2323145"/>
              <a:gd name="connsiteX146" fmla="*/ 4366646 w 11269336"/>
              <a:gd name="connsiteY146" fmla="*/ 2198564 h 2323145"/>
              <a:gd name="connsiteX147" fmla="*/ 4354009 w 11269336"/>
              <a:gd name="connsiteY147" fmla="*/ 2204984 h 2323145"/>
              <a:gd name="connsiteX148" fmla="*/ 4348284 w 11269336"/>
              <a:gd name="connsiteY148" fmla="*/ 2205270 h 2323145"/>
              <a:gd name="connsiteX149" fmla="*/ 4333906 w 11269336"/>
              <a:gd name="connsiteY149" fmla="*/ 2205251 h 2323145"/>
              <a:gd name="connsiteX150" fmla="*/ 4308819 w 11269336"/>
              <a:gd name="connsiteY150" fmla="*/ 2203822 h 2323145"/>
              <a:gd name="connsiteX151" fmla="*/ 4301210 w 11269336"/>
              <a:gd name="connsiteY151" fmla="*/ 2204456 h 2323145"/>
              <a:gd name="connsiteX152" fmla="*/ 4283095 w 11269336"/>
              <a:gd name="connsiteY152" fmla="*/ 2198177 h 2323145"/>
              <a:gd name="connsiteX153" fmla="*/ 4250119 w 11269336"/>
              <a:gd name="connsiteY153" fmla="*/ 2196342 h 2323145"/>
              <a:gd name="connsiteX154" fmla="*/ 4189203 w 11269336"/>
              <a:gd name="connsiteY154" fmla="*/ 2178994 h 2323145"/>
              <a:gd name="connsiteX155" fmla="*/ 4154035 w 11269336"/>
              <a:gd name="connsiteY155" fmla="*/ 2171950 h 2323145"/>
              <a:gd name="connsiteX156" fmla="*/ 4129569 w 11269336"/>
              <a:gd name="connsiteY156" fmla="*/ 2163850 h 2323145"/>
              <a:gd name="connsiteX157" fmla="*/ 4061250 w 11269336"/>
              <a:gd name="connsiteY157" fmla="*/ 2159236 h 2323145"/>
              <a:gd name="connsiteX158" fmla="*/ 3945480 w 11269336"/>
              <a:gd name="connsiteY158" fmla="*/ 2158279 h 2323145"/>
              <a:gd name="connsiteX159" fmla="*/ 3921468 w 11269336"/>
              <a:gd name="connsiteY159" fmla="*/ 2156588 h 2323145"/>
              <a:gd name="connsiteX160" fmla="*/ 3903348 w 11269336"/>
              <a:gd name="connsiteY160" fmla="*/ 2149220 h 2323145"/>
              <a:gd name="connsiteX161" fmla="*/ 3901342 w 11269336"/>
              <a:gd name="connsiteY161" fmla="*/ 2142355 h 2323145"/>
              <a:gd name="connsiteX162" fmla="*/ 3888539 w 11269336"/>
              <a:gd name="connsiteY162" fmla="*/ 2140476 h 2323145"/>
              <a:gd name="connsiteX163" fmla="*/ 3885662 w 11269336"/>
              <a:gd name="connsiteY163" fmla="*/ 2138740 h 2323145"/>
              <a:gd name="connsiteX164" fmla="*/ 3868627 w 11269336"/>
              <a:gd name="connsiteY164" fmla="*/ 2130023 h 2323145"/>
              <a:gd name="connsiteX165" fmla="*/ 3819177 w 11269336"/>
              <a:gd name="connsiteY165" fmla="*/ 2142111 h 2323145"/>
              <a:gd name="connsiteX166" fmla="*/ 3769100 w 11269336"/>
              <a:gd name="connsiteY166" fmla="*/ 2131731 h 2323145"/>
              <a:gd name="connsiteX167" fmla="*/ 3562752 w 11269336"/>
              <a:gd name="connsiteY167" fmla="*/ 2131785 h 2323145"/>
              <a:gd name="connsiteX168" fmla="*/ 3541402 w 11269336"/>
              <a:gd name="connsiteY168" fmla="*/ 2106821 h 2323145"/>
              <a:gd name="connsiteX169" fmla="*/ 3365341 w 11269336"/>
              <a:gd name="connsiteY169" fmla="*/ 2077638 h 2323145"/>
              <a:gd name="connsiteX170" fmla="*/ 3170922 w 11269336"/>
              <a:gd name="connsiteY170" fmla="*/ 2115957 h 2323145"/>
              <a:gd name="connsiteX171" fmla="*/ 3156256 w 11269336"/>
              <a:gd name="connsiteY171" fmla="*/ 2124773 h 2323145"/>
              <a:gd name="connsiteX172" fmla="*/ 3140298 w 11269336"/>
              <a:gd name="connsiteY172" fmla="*/ 2129182 h 2323145"/>
              <a:gd name="connsiteX173" fmla="*/ 3138514 w 11269336"/>
              <a:gd name="connsiteY173" fmla="*/ 2128069 h 2323145"/>
              <a:gd name="connsiteX174" fmla="*/ 3120467 w 11269336"/>
              <a:gd name="connsiteY174" fmla="*/ 2128281 h 2323145"/>
              <a:gd name="connsiteX175" fmla="*/ 3116175 w 11269336"/>
              <a:gd name="connsiteY175" fmla="*/ 2131633 h 2323145"/>
              <a:gd name="connsiteX176" fmla="*/ 3103685 w 11269336"/>
              <a:gd name="connsiteY176" fmla="*/ 2132814 h 2323145"/>
              <a:gd name="connsiteX177" fmla="*/ 3078794 w 11269336"/>
              <a:gd name="connsiteY177" fmla="*/ 2137935 h 2323145"/>
              <a:gd name="connsiteX178" fmla="*/ 3074407 w 11269336"/>
              <a:gd name="connsiteY178" fmla="*/ 2136274 h 2323145"/>
              <a:gd name="connsiteX179" fmla="*/ 3037285 w 11269336"/>
              <a:gd name="connsiteY179" fmla="*/ 2139919 h 2323145"/>
              <a:gd name="connsiteX180" fmla="*/ 3036901 w 11269336"/>
              <a:gd name="connsiteY180" fmla="*/ 2138726 h 2323145"/>
              <a:gd name="connsiteX181" fmla="*/ 3026996 w 11269336"/>
              <a:gd name="connsiteY181" fmla="*/ 2134322 h 2323145"/>
              <a:gd name="connsiteX182" fmla="*/ 3007772 w 11269336"/>
              <a:gd name="connsiteY182" fmla="*/ 2128742 h 2323145"/>
              <a:gd name="connsiteX183" fmla="*/ 2965030 w 11269336"/>
              <a:gd name="connsiteY183" fmla="*/ 2100494 h 2323145"/>
              <a:gd name="connsiteX184" fmla="*/ 2926342 w 11269336"/>
              <a:gd name="connsiteY184" fmla="*/ 2104155 h 2323145"/>
              <a:gd name="connsiteX185" fmla="*/ 2918608 w 11269336"/>
              <a:gd name="connsiteY185" fmla="*/ 2104215 h 2323145"/>
              <a:gd name="connsiteX186" fmla="*/ 2918475 w 11269336"/>
              <a:gd name="connsiteY186" fmla="*/ 2103937 h 2323145"/>
              <a:gd name="connsiteX187" fmla="*/ 2910360 w 11269336"/>
              <a:gd name="connsiteY187" fmla="*/ 2103444 h 2323145"/>
              <a:gd name="connsiteX188" fmla="*/ 2904507 w 11269336"/>
              <a:gd name="connsiteY188" fmla="*/ 2104326 h 2323145"/>
              <a:gd name="connsiteX189" fmla="*/ 2889503 w 11269336"/>
              <a:gd name="connsiteY189" fmla="*/ 2104443 h 2323145"/>
              <a:gd name="connsiteX190" fmla="*/ 2884480 w 11269336"/>
              <a:gd name="connsiteY190" fmla="*/ 2102626 h 2323145"/>
              <a:gd name="connsiteX191" fmla="*/ 2882689 w 11269336"/>
              <a:gd name="connsiteY191" fmla="*/ 2099228 h 2323145"/>
              <a:gd name="connsiteX192" fmla="*/ 2881291 w 11269336"/>
              <a:gd name="connsiteY192" fmla="*/ 2099618 h 2323145"/>
              <a:gd name="connsiteX193" fmla="*/ 2853979 w 11269336"/>
              <a:gd name="connsiteY193" fmla="*/ 2090388 h 2323145"/>
              <a:gd name="connsiteX194" fmla="*/ 2791790 w 11269336"/>
              <a:gd name="connsiteY194" fmla="*/ 2080332 h 2323145"/>
              <a:gd name="connsiteX195" fmla="*/ 2755844 w 11269336"/>
              <a:gd name="connsiteY195" fmla="*/ 2078874 h 2323145"/>
              <a:gd name="connsiteX196" fmla="*/ 2657742 w 11269336"/>
              <a:gd name="connsiteY196" fmla="*/ 2070179 h 2323145"/>
              <a:gd name="connsiteX197" fmla="*/ 2559549 w 11269336"/>
              <a:gd name="connsiteY197" fmla="*/ 2057873 h 2323145"/>
              <a:gd name="connsiteX198" fmla="*/ 2512054 w 11269336"/>
              <a:gd name="connsiteY198" fmla="*/ 2031671 h 2323145"/>
              <a:gd name="connsiteX199" fmla="*/ 2506437 w 11269336"/>
              <a:gd name="connsiteY199" fmla="*/ 2030918 h 2323145"/>
              <a:gd name="connsiteX200" fmla="*/ 2491752 w 11269336"/>
              <a:gd name="connsiteY200" fmla="*/ 2033906 h 2323145"/>
              <a:gd name="connsiteX201" fmla="*/ 2486338 w 11269336"/>
              <a:gd name="connsiteY201" fmla="*/ 2035862 h 2323145"/>
              <a:gd name="connsiteX202" fmla="*/ 2478186 w 11269336"/>
              <a:gd name="connsiteY202" fmla="*/ 2036953 h 2323145"/>
              <a:gd name="connsiteX203" fmla="*/ 2477950 w 11269336"/>
              <a:gd name="connsiteY203" fmla="*/ 2036715 h 2323145"/>
              <a:gd name="connsiteX204" fmla="*/ 2470381 w 11269336"/>
              <a:gd name="connsiteY204" fmla="*/ 2038256 h 2323145"/>
              <a:gd name="connsiteX205" fmla="*/ 2433781 w 11269336"/>
              <a:gd name="connsiteY205" fmla="*/ 2049140 h 2323145"/>
              <a:gd name="connsiteX206" fmla="*/ 2381172 w 11269336"/>
              <a:gd name="connsiteY206" fmla="*/ 2030645 h 2323145"/>
              <a:gd name="connsiteX207" fmla="*/ 2360198 w 11269336"/>
              <a:gd name="connsiteY207" fmla="*/ 2029059 h 2323145"/>
              <a:gd name="connsiteX208" fmla="*/ 2348815 w 11269336"/>
              <a:gd name="connsiteY208" fmla="*/ 2026798 h 2323145"/>
              <a:gd name="connsiteX209" fmla="*/ 2347988 w 11269336"/>
              <a:gd name="connsiteY209" fmla="*/ 2025745 h 2323145"/>
              <a:gd name="connsiteX210" fmla="*/ 2312920 w 11269336"/>
              <a:gd name="connsiteY210" fmla="*/ 2036311 h 2323145"/>
              <a:gd name="connsiteX211" fmla="*/ 2307986 w 11269336"/>
              <a:gd name="connsiteY211" fmla="*/ 2035583 h 2323145"/>
              <a:gd name="connsiteX212" fmla="*/ 2285481 w 11269336"/>
              <a:gd name="connsiteY212" fmla="*/ 2045197 h 2323145"/>
              <a:gd name="connsiteX213" fmla="*/ 2273666 w 11269336"/>
              <a:gd name="connsiteY213" fmla="*/ 2048710 h 2323145"/>
              <a:gd name="connsiteX214" fmla="*/ 2270719 w 11269336"/>
              <a:gd name="connsiteY214" fmla="*/ 2052702 h 2323145"/>
              <a:gd name="connsiteX215" fmla="*/ 2253080 w 11269336"/>
              <a:gd name="connsiteY215" fmla="*/ 2056363 h 2323145"/>
              <a:gd name="connsiteX216" fmla="*/ 2250906 w 11269336"/>
              <a:gd name="connsiteY216" fmla="*/ 2055654 h 2323145"/>
              <a:gd name="connsiteX217" fmla="*/ 2236905 w 11269336"/>
              <a:gd name="connsiteY217" fmla="*/ 2062882 h 2323145"/>
              <a:gd name="connsiteX218" fmla="*/ 2225830 w 11269336"/>
              <a:gd name="connsiteY218" fmla="*/ 2074027 h 2323145"/>
              <a:gd name="connsiteX219" fmla="*/ 2073776 w 11269336"/>
              <a:gd name="connsiteY219" fmla="*/ 2089244 h 2323145"/>
              <a:gd name="connsiteX220" fmla="*/ 1948256 w 11269336"/>
              <a:gd name="connsiteY220" fmla="*/ 2146616 h 2323145"/>
              <a:gd name="connsiteX221" fmla="*/ 1865582 w 11269336"/>
              <a:gd name="connsiteY221" fmla="*/ 2153738 h 2323145"/>
              <a:gd name="connsiteX222" fmla="*/ 1835210 w 11269336"/>
              <a:gd name="connsiteY222" fmla="*/ 2134244 h 2323145"/>
              <a:gd name="connsiteX223" fmla="*/ 1632661 w 11269336"/>
              <a:gd name="connsiteY223" fmla="*/ 2173882 h 2323145"/>
              <a:gd name="connsiteX224" fmla="*/ 1579590 w 11269336"/>
              <a:gd name="connsiteY224" fmla="*/ 2173680 h 2323145"/>
              <a:gd name="connsiteX225" fmla="*/ 1535601 w 11269336"/>
              <a:gd name="connsiteY225" fmla="*/ 2194590 h 2323145"/>
              <a:gd name="connsiteX226" fmla="*/ 1515594 w 11269336"/>
              <a:gd name="connsiteY226" fmla="*/ 2189622 h 2323145"/>
              <a:gd name="connsiteX227" fmla="*/ 1512113 w 11269336"/>
              <a:gd name="connsiteY227" fmla="*/ 2188534 h 2323145"/>
              <a:gd name="connsiteX228" fmla="*/ 1498838 w 11269336"/>
              <a:gd name="connsiteY228" fmla="*/ 2189213 h 2323145"/>
              <a:gd name="connsiteX229" fmla="*/ 1494279 w 11269336"/>
              <a:gd name="connsiteY229" fmla="*/ 2183112 h 2323145"/>
              <a:gd name="connsiteX230" fmla="*/ 1473714 w 11269336"/>
              <a:gd name="connsiteY230" fmla="*/ 2179625 h 2323145"/>
              <a:gd name="connsiteX231" fmla="*/ 1449503 w 11269336"/>
              <a:gd name="connsiteY231" fmla="*/ 2182633 h 2323145"/>
              <a:gd name="connsiteX232" fmla="*/ 1266687 w 11269336"/>
              <a:gd name="connsiteY232" fmla="*/ 2212688 h 2323145"/>
              <a:gd name="connsiteX233" fmla="*/ 1239614 w 11269336"/>
              <a:gd name="connsiteY233" fmla="*/ 2209727 h 2323145"/>
              <a:gd name="connsiteX234" fmla="*/ 1202436 w 11269336"/>
              <a:gd name="connsiteY234" fmla="*/ 2209817 h 2323145"/>
              <a:gd name="connsiteX235" fmla="*/ 1136097 w 11269336"/>
              <a:gd name="connsiteY235" fmla="*/ 2205112 h 2323145"/>
              <a:gd name="connsiteX236" fmla="*/ 988232 w 11269336"/>
              <a:gd name="connsiteY236" fmla="*/ 2235635 h 2323145"/>
              <a:gd name="connsiteX237" fmla="*/ 981959 w 11269336"/>
              <a:gd name="connsiteY237" fmla="*/ 2231607 h 2323145"/>
              <a:gd name="connsiteX238" fmla="*/ 938600 w 11269336"/>
              <a:gd name="connsiteY238" fmla="*/ 2238113 h 2323145"/>
              <a:gd name="connsiteX239" fmla="*/ 791788 w 11269336"/>
              <a:gd name="connsiteY239" fmla="*/ 2293224 h 2323145"/>
              <a:gd name="connsiteX240" fmla="*/ 706914 w 11269336"/>
              <a:gd name="connsiteY240" fmla="*/ 2305046 h 2323145"/>
              <a:gd name="connsiteX241" fmla="*/ 675971 w 11269336"/>
              <a:gd name="connsiteY241" fmla="*/ 2304030 h 2323145"/>
              <a:gd name="connsiteX242" fmla="*/ 624180 w 11269336"/>
              <a:gd name="connsiteY242" fmla="*/ 2302650 h 2323145"/>
              <a:gd name="connsiteX243" fmla="*/ 583453 w 11269336"/>
              <a:gd name="connsiteY243" fmla="*/ 2288788 h 2323145"/>
              <a:gd name="connsiteX244" fmla="*/ 540946 w 11269336"/>
              <a:gd name="connsiteY244" fmla="*/ 2292721 h 2323145"/>
              <a:gd name="connsiteX245" fmla="*/ 533680 w 11269336"/>
              <a:gd name="connsiteY245" fmla="*/ 2310233 h 2323145"/>
              <a:gd name="connsiteX246" fmla="*/ 487366 w 11269336"/>
              <a:gd name="connsiteY246" fmla="*/ 2309053 h 2323145"/>
              <a:gd name="connsiteX247" fmla="*/ 416820 w 11269336"/>
              <a:gd name="connsiteY247" fmla="*/ 2305443 h 2323145"/>
              <a:gd name="connsiteX248" fmla="*/ 376805 w 11269336"/>
              <a:gd name="connsiteY248" fmla="*/ 2307647 h 2323145"/>
              <a:gd name="connsiteX249" fmla="*/ 266777 w 11269336"/>
              <a:gd name="connsiteY249" fmla="*/ 2309012 h 2323145"/>
              <a:gd name="connsiteX250" fmla="*/ 156013 w 11269336"/>
              <a:gd name="connsiteY250" fmla="*/ 2306832 h 2323145"/>
              <a:gd name="connsiteX251" fmla="*/ 87258 w 11269336"/>
              <a:gd name="connsiteY251" fmla="*/ 2285511 h 2323145"/>
              <a:gd name="connsiteX252" fmla="*/ 23798 w 11269336"/>
              <a:gd name="connsiteY252" fmla="*/ 2281822 h 2323145"/>
              <a:gd name="connsiteX253" fmla="*/ 0 w 11269336"/>
              <a:gd name="connsiteY253" fmla="*/ 2285369 h 2323145"/>
              <a:gd name="connsiteX254" fmla="*/ 0 w 11269336"/>
              <a:gd name="connsiteY254"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533444 w 11269336"/>
              <a:gd name="connsiteY141" fmla="*/ 2181200 h 2323145"/>
              <a:gd name="connsiteX142" fmla="*/ 4467257 w 11269336"/>
              <a:gd name="connsiteY142" fmla="*/ 2196121 h 2323145"/>
              <a:gd name="connsiteX143" fmla="*/ 4405765 w 11269336"/>
              <a:gd name="connsiteY143" fmla="*/ 2199902 h 2323145"/>
              <a:gd name="connsiteX144" fmla="*/ 4401354 w 11269336"/>
              <a:gd name="connsiteY144" fmla="*/ 2194745 h 2323145"/>
              <a:gd name="connsiteX145" fmla="*/ 4366646 w 11269336"/>
              <a:gd name="connsiteY145" fmla="*/ 2198564 h 2323145"/>
              <a:gd name="connsiteX146" fmla="*/ 4354009 w 11269336"/>
              <a:gd name="connsiteY146" fmla="*/ 2204984 h 2323145"/>
              <a:gd name="connsiteX147" fmla="*/ 4348284 w 11269336"/>
              <a:gd name="connsiteY147" fmla="*/ 2205270 h 2323145"/>
              <a:gd name="connsiteX148" fmla="*/ 4333906 w 11269336"/>
              <a:gd name="connsiteY148" fmla="*/ 2205251 h 2323145"/>
              <a:gd name="connsiteX149" fmla="*/ 4308819 w 11269336"/>
              <a:gd name="connsiteY149" fmla="*/ 2203822 h 2323145"/>
              <a:gd name="connsiteX150" fmla="*/ 4301210 w 11269336"/>
              <a:gd name="connsiteY150" fmla="*/ 2204456 h 2323145"/>
              <a:gd name="connsiteX151" fmla="*/ 4283095 w 11269336"/>
              <a:gd name="connsiteY151" fmla="*/ 2198177 h 2323145"/>
              <a:gd name="connsiteX152" fmla="*/ 4250119 w 11269336"/>
              <a:gd name="connsiteY152" fmla="*/ 2196342 h 2323145"/>
              <a:gd name="connsiteX153" fmla="*/ 4189203 w 11269336"/>
              <a:gd name="connsiteY153" fmla="*/ 2178994 h 2323145"/>
              <a:gd name="connsiteX154" fmla="*/ 4154035 w 11269336"/>
              <a:gd name="connsiteY154" fmla="*/ 2171950 h 2323145"/>
              <a:gd name="connsiteX155" fmla="*/ 4129569 w 11269336"/>
              <a:gd name="connsiteY155" fmla="*/ 2163850 h 2323145"/>
              <a:gd name="connsiteX156" fmla="*/ 4061250 w 11269336"/>
              <a:gd name="connsiteY156" fmla="*/ 2159236 h 2323145"/>
              <a:gd name="connsiteX157" fmla="*/ 3945480 w 11269336"/>
              <a:gd name="connsiteY157" fmla="*/ 2158279 h 2323145"/>
              <a:gd name="connsiteX158" fmla="*/ 3921468 w 11269336"/>
              <a:gd name="connsiteY158" fmla="*/ 2156588 h 2323145"/>
              <a:gd name="connsiteX159" fmla="*/ 3903348 w 11269336"/>
              <a:gd name="connsiteY159" fmla="*/ 2149220 h 2323145"/>
              <a:gd name="connsiteX160" fmla="*/ 3901342 w 11269336"/>
              <a:gd name="connsiteY160" fmla="*/ 2142355 h 2323145"/>
              <a:gd name="connsiteX161" fmla="*/ 3888539 w 11269336"/>
              <a:gd name="connsiteY161" fmla="*/ 2140476 h 2323145"/>
              <a:gd name="connsiteX162" fmla="*/ 3885662 w 11269336"/>
              <a:gd name="connsiteY162" fmla="*/ 2138740 h 2323145"/>
              <a:gd name="connsiteX163" fmla="*/ 3868627 w 11269336"/>
              <a:gd name="connsiteY163" fmla="*/ 2130023 h 2323145"/>
              <a:gd name="connsiteX164" fmla="*/ 3819177 w 11269336"/>
              <a:gd name="connsiteY164" fmla="*/ 2142111 h 2323145"/>
              <a:gd name="connsiteX165" fmla="*/ 3769100 w 11269336"/>
              <a:gd name="connsiteY165" fmla="*/ 2131731 h 2323145"/>
              <a:gd name="connsiteX166" fmla="*/ 3562752 w 11269336"/>
              <a:gd name="connsiteY166" fmla="*/ 2131785 h 2323145"/>
              <a:gd name="connsiteX167" fmla="*/ 3541402 w 11269336"/>
              <a:gd name="connsiteY167" fmla="*/ 2106821 h 2323145"/>
              <a:gd name="connsiteX168" fmla="*/ 3365341 w 11269336"/>
              <a:gd name="connsiteY168" fmla="*/ 2077638 h 2323145"/>
              <a:gd name="connsiteX169" fmla="*/ 3170922 w 11269336"/>
              <a:gd name="connsiteY169" fmla="*/ 2115957 h 2323145"/>
              <a:gd name="connsiteX170" fmla="*/ 3156256 w 11269336"/>
              <a:gd name="connsiteY170" fmla="*/ 2124773 h 2323145"/>
              <a:gd name="connsiteX171" fmla="*/ 3140298 w 11269336"/>
              <a:gd name="connsiteY171" fmla="*/ 2129182 h 2323145"/>
              <a:gd name="connsiteX172" fmla="*/ 3138514 w 11269336"/>
              <a:gd name="connsiteY172" fmla="*/ 2128069 h 2323145"/>
              <a:gd name="connsiteX173" fmla="*/ 3120467 w 11269336"/>
              <a:gd name="connsiteY173" fmla="*/ 2128281 h 2323145"/>
              <a:gd name="connsiteX174" fmla="*/ 3116175 w 11269336"/>
              <a:gd name="connsiteY174" fmla="*/ 2131633 h 2323145"/>
              <a:gd name="connsiteX175" fmla="*/ 3103685 w 11269336"/>
              <a:gd name="connsiteY175" fmla="*/ 2132814 h 2323145"/>
              <a:gd name="connsiteX176" fmla="*/ 3078794 w 11269336"/>
              <a:gd name="connsiteY176" fmla="*/ 2137935 h 2323145"/>
              <a:gd name="connsiteX177" fmla="*/ 3074407 w 11269336"/>
              <a:gd name="connsiteY177" fmla="*/ 2136274 h 2323145"/>
              <a:gd name="connsiteX178" fmla="*/ 3037285 w 11269336"/>
              <a:gd name="connsiteY178" fmla="*/ 2139919 h 2323145"/>
              <a:gd name="connsiteX179" fmla="*/ 3036901 w 11269336"/>
              <a:gd name="connsiteY179" fmla="*/ 2138726 h 2323145"/>
              <a:gd name="connsiteX180" fmla="*/ 3026996 w 11269336"/>
              <a:gd name="connsiteY180" fmla="*/ 2134322 h 2323145"/>
              <a:gd name="connsiteX181" fmla="*/ 3007772 w 11269336"/>
              <a:gd name="connsiteY181" fmla="*/ 2128742 h 2323145"/>
              <a:gd name="connsiteX182" fmla="*/ 2965030 w 11269336"/>
              <a:gd name="connsiteY182" fmla="*/ 2100494 h 2323145"/>
              <a:gd name="connsiteX183" fmla="*/ 2926342 w 11269336"/>
              <a:gd name="connsiteY183" fmla="*/ 2104155 h 2323145"/>
              <a:gd name="connsiteX184" fmla="*/ 2918608 w 11269336"/>
              <a:gd name="connsiteY184" fmla="*/ 2104215 h 2323145"/>
              <a:gd name="connsiteX185" fmla="*/ 2918475 w 11269336"/>
              <a:gd name="connsiteY185" fmla="*/ 2103937 h 2323145"/>
              <a:gd name="connsiteX186" fmla="*/ 2910360 w 11269336"/>
              <a:gd name="connsiteY186" fmla="*/ 2103444 h 2323145"/>
              <a:gd name="connsiteX187" fmla="*/ 2904507 w 11269336"/>
              <a:gd name="connsiteY187" fmla="*/ 2104326 h 2323145"/>
              <a:gd name="connsiteX188" fmla="*/ 2889503 w 11269336"/>
              <a:gd name="connsiteY188" fmla="*/ 2104443 h 2323145"/>
              <a:gd name="connsiteX189" fmla="*/ 2884480 w 11269336"/>
              <a:gd name="connsiteY189" fmla="*/ 2102626 h 2323145"/>
              <a:gd name="connsiteX190" fmla="*/ 2882689 w 11269336"/>
              <a:gd name="connsiteY190" fmla="*/ 2099228 h 2323145"/>
              <a:gd name="connsiteX191" fmla="*/ 2881291 w 11269336"/>
              <a:gd name="connsiteY191" fmla="*/ 2099618 h 2323145"/>
              <a:gd name="connsiteX192" fmla="*/ 2853979 w 11269336"/>
              <a:gd name="connsiteY192" fmla="*/ 2090388 h 2323145"/>
              <a:gd name="connsiteX193" fmla="*/ 2791790 w 11269336"/>
              <a:gd name="connsiteY193" fmla="*/ 2080332 h 2323145"/>
              <a:gd name="connsiteX194" fmla="*/ 2755844 w 11269336"/>
              <a:gd name="connsiteY194" fmla="*/ 2078874 h 2323145"/>
              <a:gd name="connsiteX195" fmla="*/ 2657742 w 11269336"/>
              <a:gd name="connsiteY195" fmla="*/ 2070179 h 2323145"/>
              <a:gd name="connsiteX196" fmla="*/ 2559549 w 11269336"/>
              <a:gd name="connsiteY196" fmla="*/ 2057873 h 2323145"/>
              <a:gd name="connsiteX197" fmla="*/ 2512054 w 11269336"/>
              <a:gd name="connsiteY197" fmla="*/ 2031671 h 2323145"/>
              <a:gd name="connsiteX198" fmla="*/ 2506437 w 11269336"/>
              <a:gd name="connsiteY198" fmla="*/ 2030918 h 2323145"/>
              <a:gd name="connsiteX199" fmla="*/ 2491752 w 11269336"/>
              <a:gd name="connsiteY199" fmla="*/ 2033906 h 2323145"/>
              <a:gd name="connsiteX200" fmla="*/ 2486338 w 11269336"/>
              <a:gd name="connsiteY200" fmla="*/ 2035862 h 2323145"/>
              <a:gd name="connsiteX201" fmla="*/ 2478186 w 11269336"/>
              <a:gd name="connsiteY201" fmla="*/ 2036953 h 2323145"/>
              <a:gd name="connsiteX202" fmla="*/ 2477950 w 11269336"/>
              <a:gd name="connsiteY202" fmla="*/ 2036715 h 2323145"/>
              <a:gd name="connsiteX203" fmla="*/ 2470381 w 11269336"/>
              <a:gd name="connsiteY203" fmla="*/ 2038256 h 2323145"/>
              <a:gd name="connsiteX204" fmla="*/ 2433781 w 11269336"/>
              <a:gd name="connsiteY204" fmla="*/ 2049140 h 2323145"/>
              <a:gd name="connsiteX205" fmla="*/ 2381172 w 11269336"/>
              <a:gd name="connsiteY205" fmla="*/ 2030645 h 2323145"/>
              <a:gd name="connsiteX206" fmla="*/ 2360198 w 11269336"/>
              <a:gd name="connsiteY206" fmla="*/ 2029059 h 2323145"/>
              <a:gd name="connsiteX207" fmla="*/ 2348815 w 11269336"/>
              <a:gd name="connsiteY207" fmla="*/ 2026798 h 2323145"/>
              <a:gd name="connsiteX208" fmla="*/ 2347988 w 11269336"/>
              <a:gd name="connsiteY208" fmla="*/ 2025745 h 2323145"/>
              <a:gd name="connsiteX209" fmla="*/ 2312920 w 11269336"/>
              <a:gd name="connsiteY209" fmla="*/ 2036311 h 2323145"/>
              <a:gd name="connsiteX210" fmla="*/ 2307986 w 11269336"/>
              <a:gd name="connsiteY210" fmla="*/ 2035583 h 2323145"/>
              <a:gd name="connsiteX211" fmla="*/ 2285481 w 11269336"/>
              <a:gd name="connsiteY211" fmla="*/ 2045197 h 2323145"/>
              <a:gd name="connsiteX212" fmla="*/ 2273666 w 11269336"/>
              <a:gd name="connsiteY212" fmla="*/ 2048710 h 2323145"/>
              <a:gd name="connsiteX213" fmla="*/ 2270719 w 11269336"/>
              <a:gd name="connsiteY213" fmla="*/ 2052702 h 2323145"/>
              <a:gd name="connsiteX214" fmla="*/ 2253080 w 11269336"/>
              <a:gd name="connsiteY214" fmla="*/ 2056363 h 2323145"/>
              <a:gd name="connsiteX215" fmla="*/ 2250906 w 11269336"/>
              <a:gd name="connsiteY215" fmla="*/ 2055654 h 2323145"/>
              <a:gd name="connsiteX216" fmla="*/ 2236905 w 11269336"/>
              <a:gd name="connsiteY216" fmla="*/ 2062882 h 2323145"/>
              <a:gd name="connsiteX217" fmla="*/ 2225830 w 11269336"/>
              <a:gd name="connsiteY217" fmla="*/ 2074027 h 2323145"/>
              <a:gd name="connsiteX218" fmla="*/ 2073776 w 11269336"/>
              <a:gd name="connsiteY218" fmla="*/ 2089244 h 2323145"/>
              <a:gd name="connsiteX219" fmla="*/ 1948256 w 11269336"/>
              <a:gd name="connsiteY219" fmla="*/ 2146616 h 2323145"/>
              <a:gd name="connsiteX220" fmla="*/ 1865582 w 11269336"/>
              <a:gd name="connsiteY220" fmla="*/ 2153738 h 2323145"/>
              <a:gd name="connsiteX221" fmla="*/ 1835210 w 11269336"/>
              <a:gd name="connsiteY221" fmla="*/ 2134244 h 2323145"/>
              <a:gd name="connsiteX222" fmla="*/ 1632661 w 11269336"/>
              <a:gd name="connsiteY222" fmla="*/ 2173882 h 2323145"/>
              <a:gd name="connsiteX223" fmla="*/ 1579590 w 11269336"/>
              <a:gd name="connsiteY223" fmla="*/ 2173680 h 2323145"/>
              <a:gd name="connsiteX224" fmla="*/ 1535601 w 11269336"/>
              <a:gd name="connsiteY224" fmla="*/ 2194590 h 2323145"/>
              <a:gd name="connsiteX225" fmla="*/ 1515594 w 11269336"/>
              <a:gd name="connsiteY225" fmla="*/ 2189622 h 2323145"/>
              <a:gd name="connsiteX226" fmla="*/ 1512113 w 11269336"/>
              <a:gd name="connsiteY226" fmla="*/ 2188534 h 2323145"/>
              <a:gd name="connsiteX227" fmla="*/ 1498838 w 11269336"/>
              <a:gd name="connsiteY227" fmla="*/ 2189213 h 2323145"/>
              <a:gd name="connsiteX228" fmla="*/ 1494279 w 11269336"/>
              <a:gd name="connsiteY228" fmla="*/ 2183112 h 2323145"/>
              <a:gd name="connsiteX229" fmla="*/ 1473714 w 11269336"/>
              <a:gd name="connsiteY229" fmla="*/ 2179625 h 2323145"/>
              <a:gd name="connsiteX230" fmla="*/ 1449503 w 11269336"/>
              <a:gd name="connsiteY230" fmla="*/ 2182633 h 2323145"/>
              <a:gd name="connsiteX231" fmla="*/ 1266687 w 11269336"/>
              <a:gd name="connsiteY231" fmla="*/ 2212688 h 2323145"/>
              <a:gd name="connsiteX232" fmla="*/ 1239614 w 11269336"/>
              <a:gd name="connsiteY232" fmla="*/ 2209727 h 2323145"/>
              <a:gd name="connsiteX233" fmla="*/ 1202436 w 11269336"/>
              <a:gd name="connsiteY233" fmla="*/ 2209817 h 2323145"/>
              <a:gd name="connsiteX234" fmla="*/ 1136097 w 11269336"/>
              <a:gd name="connsiteY234" fmla="*/ 2205112 h 2323145"/>
              <a:gd name="connsiteX235" fmla="*/ 988232 w 11269336"/>
              <a:gd name="connsiteY235" fmla="*/ 2235635 h 2323145"/>
              <a:gd name="connsiteX236" fmla="*/ 981959 w 11269336"/>
              <a:gd name="connsiteY236" fmla="*/ 2231607 h 2323145"/>
              <a:gd name="connsiteX237" fmla="*/ 938600 w 11269336"/>
              <a:gd name="connsiteY237" fmla="*/ 2238113 h 2323145"/>
              <a:gd name="connsiteX238" fmla="*/ 791788 w 11269336"/>
              <a:gd name="connsiteY238" fmla="*/ 2293224 h 2323145"/>
              <a:gd name="connsiteX239" fmla="*/ 706914 w 11269336"/>
              <a:gd name="connsiteY239" fmla="*/ 2305046 h 2323145"/>
              <a:gd name="connsiteX240" fmla="*/ 675971 w 11269336"/>
              <a:gd name="connsiteY240" fmla="*/ 2304030 h 2323145"/>
              <a:gd name="connsiteX241" fmla="*/ 624180 w 11269336"/>
              <a:gd name="connsiteY241" fmla="*/ 2302650 h 2323145"/>
              <a:gd name="connsiteX242" fmla="*/ 583453 w 11269336"/>
              <a:gd name="connsiteY242" fmla="*/ 2288788 h 2323145"/>
              <a:gd name="connsiteX243" fmla="*/ 540946 w 11269336"/>
              <a:gd name="connsiteY243" fmla="*/ 2292721 h 2323145"/>
              <a:gd name="connsiteX244" fmla="*/ 533680 w 11269336"/>
              <a:gd name="connsiteY244" fmla="*/ 2310233 h 2323145"/>
              <a:gd name="connsiteX245" fmla="*/ 487366 w 11269336"/>
              <a:gd name="connsiteY245" fmla="*/ 2309053 h 2323145"/>
              <a:gd name="connsiteX246" fmla="*/ 416820 w 11269336"/>
              <a:gd name="connsiteY246" fmla="*/ 2305443 h 2323145"/>
              <a:gd name="connsiteX247" fmla="*/ 376805 w 11269336"/>
              <a:gd name="connsiteY247" fmla="*/ 2307647 h 2323145"/>
              <a:gd name="connsiteX248" fmla="*/ 266777 w 11269336"/>
              <a:gd name="connsiteY248" fmla="*/ 2309012 h 2323145"/>
              <a:gd name="connsiteX249" fmla="*/ 156013 w 11269336"/>
              <a:gd name="connsiteY249" fmla="*/ 2306832 h 2323145"/>
              <a:gd name="connsiteX250" fmla="*/ 87258 w 11269336"/>
              <a:gd name="connsiteY250" fmla="*/ 2285511 h 2323145"/>
              <a:gd name="connsiteX251" fmla="*/ 23798 w 11269336"/>
              <a:gd name="connsiteY251" fmla="*/ 2281822 h 2323145"/>
              <a:gd name="connsiteX252" fmla="*/ 0 w 11269336"/>
              <a:gd name="connsiteY252" fmla="*/ 2285369 h 2323145"/>
              <a:gd name="connsiteX253" fmla="*/ 0 w 11269336"/>
              <a:gd name="connsiteY253"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467257 w 11269336"/>
              <a:gd name="connsiteY141" fmla="*/ 2196121 h 2323145"/>
              <a:gd name="connsiteX142" fmla="*/ 4405765 w 11269336"/>
              <a:gd name="connsiteY142" fmla="*/ 2199902 h 2323145"/>
              <a:gd name="connsiteX143" fmla="*/ 4401354 w 11269336"/>
              <a:gd name="connsiteY143" fmla="*/ 2194745 h 2323145"/>
              <a:gd name="connsiteX144" fmla="*/ 4366646 w 11269336"/>
              <a:gd name="connsiteY144" fmla="*/ 2198564 h 2323145"/>
              <a:gd name="connsiteX145" fmla="*/ 4354009 w 11269336"/>
              <a:gd name="connsiteY145" fmla="*/ 2204984 h 2323145"/>
              <a:gd name="connsiteX146" fmla="*/ 4348284 w 11269336"/>
              <a:gd name="connsiteY146" fmla="*/ 2205270 h 2323145"/>
              <a:gd name="connsiteX147" fmla="*/ 4333906 w 11269336"/>
              <a:gd name="connsiteY147" fmla="*/ 2205251 h 2323145"/>
              <a:gd name="connsiteX148" fmla="*/ 4308819 w 11269336"/>
              <a:gd name="connsiteY148" fmla="*/ 2203822 h 2323145"/>
              <a:gd name="connsiteX149" fmla="*/ 4301210 w 11269336"/>
              <a:gd name="connsiteY149" fmla="*/ 2204456 h 2323145"/>
              <a:gd name="connsiteX150" fmla="*/ 4283095 w 11269336"/>
              <a:gd name="connsiteY150" fmla="*/ 2198177 h 2323145"/>
              <a:gd name="connsiteX151" fmla="*/ 4250119 w 11269336"/>
              <a:gd name="connsiteY151" fmla="*/ 2196342 h 2323145"/>
              <a:gd name="connsiteX152" fmla="*/ 4189203 w 11269336"/>
              <a:gd name="connsiteY152" fmla="*/ 2178994 h 2323145"/>
              <a:gd name="connsiteX153" fmla="*/ 4154035 w 11269336"/>
              <a:gd name="connsiteY153" fmla="*/ 2171950 h 2323145"/>
              <a:gd name="connsiteX154" fmla="*/ 4129569 w 11269336"/>
              <a:gd name="connsiteY154" fmla="*/ 2163850 h 2323145"/>
              <a:gd name="connsiteX155" fmla="*/ 4061250 w 11269336"/>
              <a:gd name="connsiteY155" fmla="*/ 2159236 h 2323145"/>
              <a:gd name="connsiteX156" fmla="*/ 3945480 w 11269336"/>
              <a:gd name="connsiteY156" fmla="*/ 2158279 h 2323145"/>
              <a:gd name="connsiteX157" fmla="*/ 3921468 w 11269336"/>
              <a:gd name="connsiteY157" fmla="*/ 2156588 h 2323145"/>
              <a:gd name="connsiteX158" fmla="*/ 3903348 w 11269336"/>
              <a:gd name="connsiteY158" fmla="*/ 2149220 h 2323145"/>
              <a:gd name="connsiteX159" fmla="*/ 3901342 w 11269336"/>
              <a:gd name="connsiteY159" fmla="*/ 2142355 h 2323145"/>
              <a:gd name="connsiteX160" fmla="*/ 3888539 w 11269336"/>
              <a:gd name="connsiteY160" fmla="*/ 2140476 h 2323145"/>
              <a:gd name="connsiteX161" fmla="*/ 3885662 w 11269336"/>
              <a:gd name="connsiteY161" fmla="*/ 2138740 h 2323145"/>
              <a:gd name="connsiteX162" fmla="*/ 3868627 w 11269336"/>
              <a:gd name="connsiteY162" fmla="*/ 2130023 h 2323145"/>
              <a:gd name="connsiteX163" fmla="*/ 3819177 w 11269336"/>
              <a:gd name="connsiteY163" fmla="*/ 2142111 h 2323145"/>
              <a:gd name="connsiteX164" fmla="*/ 3769100 w 11269336"/>
              <a:gd name="connsiteY164" fmla="*/ 2131731 h 2323145"/>
              <a:gd name="connsiteX165" fmla="*/ 3562752 w 11269336"/>
              <a:gd name="connsiteY165" fmla="*/ 2131785 h 2323145"/>
              <a:gd name="connsiteX166" fmla="*/ 3541402 w 11269336"/>
              <a:gd name="connsiteY166" fmla="*/ 2106821 h 2323145"/>
              <a:gd name="connsiteX167" fmla="*/ 3365341 w 11269336"/>
              <a:gd name="connsiteY167" fmla="*/ 2077638 h 2323145"/>
              <a:gd name="connsiteX168" fmla="*/ 3170922 w 11269336"/>
              <a:gd name="connsiteY168" fmla="*/ 2115957 h 2323145"/>
              <a:gd name="connsiteX169" fmla="*/ 3156256 w 11269336"/>
              <a:gd name="connsiteY169" fmla="*/ 2124773 h 2323145"/>
              <a:gd name="connsiteX170" fmla="*/ 3140298 w 11269336"/>
              <a:gd name="connsiteY170" fmla="*/ 2129182 h 2323145"/>
              <a:gd name="connsiteX171" fmla="*/ 3138514 w 11269336"/>
              <a:gd name="connsiteY171" fmla="*/ 2128069 h 2323145"/>
              <a:gd name="connsiteX172" fmla="*/ 3120467 w 11269336"/>
              <a:gd name="connsiteY172" fmla="*/ 2128281 h 2323145"/>
              <a:gd name="connsiteX173" fmla="*/ 3116175 w 11269336"/>
              <a:gd name="connsiteY173" fmla="*/ 2131633 h 2323145"/>
              <a:gd name="connsiteX174" fmla="*/ 3103685 w 11269336"/>
              <a:gd name="connsiteY174" fmla="*/ 2132814 h 2323145"/>
              <a:gd name="connsiteX175" fmla="*/ 3078794 w 11269336"/>
              <a:gd name="connsiteY175" fmla="*/ 2137935 h 2323145"/>
              <a:gd name="connsiteX176" fmla="*/ 3074407 w 11269336"/>
              <a:gd name="connsiteY176" fmla="*/ 2136274 h 2323145"/>
              <a:gd name="connsiteX177" fmla="*/ 3037285 w 11269336"/>
              <a:gd name="connsiteY177" fmla="*/ 2139919 h 2323145"/>
              <a:gd name="connsiteX178" fmla="*/ 3036901 w 11269336"/>
              <a:gd name="connsiteY178" fmla="*/ 2138726 h 2323145"/>
              <a:gd name="connsiteX179" fmla="*/ 3026996 w 11269336"/>
              <a:gd name="connsiteY179" fmla="*/ 2134322 h 2323145"/>
              <a:gd name="connsiteX180" fmla="*/ 3007772 w 11269336"/>
              <a:gd name="connsiteY180" fmla="*/ 2128742 h 2323145"/>
              <a:gd name="connsiteX181" fmla="*/ 2965030 w 11269336"/>
              <a:gd name="connsiteY181" fmla="*/ 2100494 h 2323145"/>
              <a:gd name="connsiteX182" fmla="*/ 2926342 w 11269336"/>
              <a:gd name="connsiteY182" fmla="*/ 2104155 h 2323145"/>
              <a:gd name="connsiteX183" fmla="*/ 2918608 w 11269336"/>
              <a:gd name="connsiteY183" fmla="*/ 2104215 h 2323145"/>
              <a:gd name="connsiteX184" fmla="*/ 2918475 w 11269336"/>
              <a:gd name="connsiteY184" fmla="*/ 2103937 h 2323145"/>
              <a:gd name="connsiteX185" fmla="*/ 2910360 w 11269336"/>
              <a:gd name="connsiteY185" fmla="*/ 2103444 h 2323145"/>
              <a:gd name="connsiteX186" fmla="*/ 2904507 w 11269336"/>
              <a:gd name="connsiteY186" fmla="*/ 2104326 h 2323145"/>
              <a:gd name="connsiteX187" fmla="*/ 2889503 w 11269336"/>
              <a:gd name="connsiteY187" fmla="*/ 2104443 h 2323145"/>
              <a:gd name="connsiteX188" fmla="*/ 2884480 w 11269336"/>
              <a:gd name="connsiteY188" fmla="*/ 2102626 h 2323145"/>
              <a:gd name="connsiteX189" fmla="*/ 2882689 w 11269336"/>
              <a:gd name="connsiteY189" fmla="*/ 2099228 h 2323145"/>
              <a:gd name="connsiteX190" fmla="*/ 2881291 w 11269336"/>
              <a:gd name="connsiteY190" fmla="*/ 2099618 h 2323145"/>
              <a:gd name="connsiteX191" fmla="*/ 2853979 w 11269336"/>
              <a:gd name="connsiteY191" fmla="*/ 2090388 h 2323145"/>
              <a:gd name="connsiteX192" fmla="*/ 2791790 w 11269336"/>
              <a:gd name="connsiteY192" fmla="*/ 2080332 h 2323145"/>
              <a:gd name="connsiteX193" fmla="*/ 2755844 w 11269336"/>
              <a:gd name="connsiteY193" fmla="*/ 2078874 h 2323145"/>
              <a:gd name="connsiteX194" fmla="*/ 2657742 w 11269336"/>
              <a:gd name="connsiteY194" fmla="*/ 2070179 h 2323145"/>
              <a:gd name="connsiteX195" fmla="*/ 2559549 w 11269336"/>
              <a:gd name="connsiteY195" fmla="*/ 2057873 h 2323145"/>
              <a:gd name="connsiteX196" fmla="*/ 2512054 w 11269336"/>
              <a:gd name="connsiteY196" fmla="*/ 2031671 h 2323145"/>
              <a:gd name="connsiteX197" fmla="*/ 2506437 w 11269336"/>
              <a:gd name="connsiteY197" fmla="*/ 2030918 h 2323145"/>
              <a:gd name="connsiteX198" fmla="*/ 2491752 w 11269336"/>
              <a:gd name="connsiteY198" fmla="*/ 2033906 h 2323145"/>
              <a:gd name="connsiteX199" fmla="*/ 2486338 w 11269336"/>
              <a:gd name="connsiteY199" fmla="*/ 2035862 h 2323145"/>
              <a:gd name="connsiteX200" fmla="*/ 2478186 w 11269336"/>
              <a:gd name="connsiteY200" fmla="*/ 2036953 h 2323145"/>
              <a:gd name="connsiteX201" fmla="*/ 2477950 w 11269336"/>
              <a:gd name="connsiteY201" fmla="*/ 2036715 h 2323145"/>
              <a:gd name="connsiteX202" fmla="*/ 2470381 w 11269336"/>
              <a:gd name="connsiteY202" fmla="*/ 2038256 h 2323145"/>
              <a:gd name="connsiteX203" fmla="*/ 2433781 w 11269336"/>
              <a:gd name="connsiteY203" fmla="*/ 2049140 h 2323145"/>
              <a:gd name="connsiteX204" fmla="*/ 2381172 w 11269336"/>
              <a:gd name="connsiteY204" fmla="*/ 2030645 h 2323145"/>
              <a:gd name="connsiteX205" fmla="*/ 2360198 w 11269336"/>
              <a:gd name="connsiteY205" fmla="*/ 2029059 h 2323145"/>
              <a:gd name="connsiteX206" fmla="*/ 2348815 w 11269336"/>
              <a:gd name="connsiteY206" fmla="*/ 2026798 h 2323145"/>
              <a:gd name="connsiteX207" fmla="*/ 2347988 w 11269336"/>
              <a:gd name="connsiteY207" fmla="*/ 2025745 h 2323145"/>
              <a:gd name="connsiteX208" fmla="*/ 2312920 w 11269336"/>
              <a:gd name="connsiteY208" fmla="*/ 2036311 h 2323145"/>
              <a:gd name="connsiteX209" fmla="*/ 2307986 w 11269336"/>
              <a:gd name="connsiteY209" fmla="*/ 2035583 h 2323145"/>
              <a:gd name="connsiteX210" fmla="*/ 2285481 w 11269336"/>
              <a:gd name="connsiteY210" fmla="*/ 2045197 h 2323145"/>
              <a:gd name="connsiteX211" fmla="*/ 2273666 w 11269336"/>
              <a:gd name="connsiteY211" fmla="*/ 2048710 h 2323145"/>
              <a:gd name="connsiteX212" fmla="*/ 2270719 w 11269336"/>
              <a:gd name="connsiteY212" fmla="*/ 2052702 h 2323145"/>
              <a:gd name="connsiteX213" fmla="*/ 2253080 w 11269336"/>
              <a:gd name="connsiteY213" fmla="*/ 2056363 h 2323145"/>
              <a:gd name="connsiteX214" fmla="*/ 2250906 w 11269336"/>
              <a:gd name="connsiteY214" fmla="*/ 2055654 h 2323145"/>
              <a:gd name="connsiteX215" fmla="*/ 2236905 w 11269336"/>
              <a:gd name="connsiteY215" fmla="*/ 2062882 h 2323145"/>
              <a:gd name="connsiteX216" fmla="*/ 2225830 w 11269336"/>
              <a:gd name="connsiteY216" fmla="*/ 2074027 h 2323145"/>
              <a:gd name="connsiteX217" fmla="*/ 2073776 w 11269336"/>
              <a:gd name="connsiteY217" fmla="*/ 2089244 h 2323145"/>
              <a:gd name="connsiteX218" fmla="*/ 1948256 w 11269336"/>
              <a:gd name="connsiteY218" fmla="*/ 2146616 h 2323145"/>
              <a:gd name="connsiteX219" fmla="*/ 1865582 w 11269336"/>
              <a:gd name="connsiteY219" fmla="*/ 2153738 h 2323145"/>
              <a:gd name="connsiteX220" fmla="*/ 1835210 w 11269336"/>
              <a:gd name="connsiteY220" fmla="*/ 2134244 h 2323145"/>
              <a:gd name="connsiteX221" fmla="*/ 1632661 w 11269336"/>
              <a:gd name="connsiteY221" fmla="*/ 2173882 h 2323145"/>
              <a:gd name="connsiteX222" fmla="*/ 1579590 w 11269336"/>
              <a:gd name="connsiteY222" fmla="*/ 2173680 h 2323145"/>
              <a:gd name="connsiteX223" fmla="*/ 1535601 w 11269336"/>
              <a:gd name="connsiteY223" fmla="*/ 2194590 h 2323145"/>
              <a:gd name="connsiteX224" fmla="*/ 1515594 w 11269336"/>
              <a:gd name="connsiteY224" fmla="*/ 2189622 h 2323145"/>
              <a:gd name="connsiteX225" fmla="*/ 1512113 w 11269336"/>
              <a:gd name="connsiteY225" fmla="*/ 2188534 h 2323145"/>
              <a:gd name="connsiteX226" fmla="*/ 1498838 w 11269336"/>
              <a:gd name="connsiteY226" fmla="*/ 2189213 h 2323145"/>
              <a:gd name="connsiteX227" fmla="*/ 1494279 w 11269336"/>
              <a:gd name="connsiteY227" fmla="*/ 2183112 h 2323145"/>
              <a:gd name="connsiteX228" fmla="*/ 1473714 w 11269336"/>
              <a:gd name="connsiteY228" fmla="*/ 2179625 h 2323145"/>
              <a:gd name="connsiteX229" fmla="*/ 1449503 w 11269336"/>
              <a:gd name="connsiteY229" fmla="*/ 2182633 h 2323145"/>
              <a:gd name="connsiteX230" fmla="*/ 1266687 w 11269336"/>
              <a:gd name="connsiteY230" fmla="*/ 2212688 h 2323145"/>
              <a:gd name="connsiteX231" fmla="*/ 1239614 w 11269336"/>
              <a:gd name="connsiteY231" fmla="*/ 2209727 h 2323145"/>
              <a:gd name="connsiteX232" fmla="*/ 1202436 w 11269336"/>
              <a:gd name="connsiteY232" fmla="*/ 2209817 h 2323145"/>
              <a:gd name="connsiteX233" fmla="*/ 1136097 w 11269336"/>
              <a:gd name="connsiteY233" fmla="*/ 2205112 h 2323145"/>
              <a:gd name="connsiteX234" fmla="*/ 988232 w 11269336"/>
              <a:gd name="connsiteY234" fmla="*/ 2235635 h 2323145"/>
              <a:gd name="connsiteX235" fmla="*/ 981959 w 11269336"/>
              <a:gd name="connsiteY235" fmla="*/ 2231607 h 2323145"/>
              <a:gd name="connsiteX236" fmla="*/ 938600 w 11269336"/>
              <a:gd name="connsiteY236" fmla="*/ 2238113 h 2323145"/>
              <a:gd name="connsiteX237" fmla="*/ 791788 w 11269336"/>
              <a:gd name="connsiteY237" fmla="*/ 2293224 h 2323145"/>
              <a:gd name="connsiteX238" fmla="*/ 706914 w 11269336"/>
              <a:gd name="connsiteY238" fmla="*/ 2305046 h 2323145"/>
              <a:gd name="connsiteX239" fmla="*/ 675971 w 11269336"/>
              <a:gd name="connsiteY239" fmla="*/ 2304030 h 2323145"/>
              <a:gd name="connsiteX240" fmla="*/ 624180 w 11269336"/>
              <a:gd name="connsiteY240" fmla="*/ 2302650 h 2323145"/>
              <a:gd name="connsiteX241" fmla="*/ 583453 w 11269336"/>
              <a:gd name="connsiteY241" fmla="*/ 2288788 h 2323145"/>
              <a:gd name="connsiteX242" fmla="*/ 540946 w 11269336"/>
              <a:gd name="connsiteY242" fmla="*/ 2292721 h 2323145"/>
              <a:gd name="connsiteX243" fmla="*/ 533680 w 11269336"/>
              <a:gd name="connsiteY243" fmla="*/ 2310233 h 2323145"/>
              <a:gd name="connsiteX244" fmla="*/ 487366 w 11269336"/>
              <a:gd name="connsiteY244" fmla="*/ 2309053 h 2323145"/>
              <a:gd name="connsiteX245" fmla="*/ 416820 w 11269336"/>
              <a:gd name="connsiteY245" fmla="*/ 2305443 h 2323145"/>
              <a:gd name="connsiteX246" fmla="*/ 376805 w 11269336"/>
              <a:gd name="connsiteY246" fmla="*/ 2307647 h 2323145"/>
              <a:gd name="connsiteX247" fmla="*/ 266777 w 11269336"/>
              <a:gd name="connsiteY247" fmla="*/ 2309012 h 2323145"/>
              <a:gd name="connsiteX248" fmla="*/ 156013 w 11269336"/>
              <a:gd name="connsiteY248" fmla="*/ 2306832 h 2323145"/>
              <a:gd name="connsiteX249" fmla="*/ 87258 w 11269336"/>
              <a:gd name="connsiteY249" fmla="*/ 2285511 h 2323145"/>
              <a:gd name="connsiteX250" fmla="*/ 23798 w 11269336"/>
              <a:gd name="connsiteY250" fmla="*/ 2281822 h 2323145"/>
              <a:gd name="connsiteX251" fmla="*/ 0 w 11269336"/>
              <a:gd name="connsiteY251" fmla="*/ 2285369 h 2323145"/>
              <a:gd name="connsiteX252" fmla="*/ 0 w 11269336"/>
              <a:gd name="connsiteY252" fmla="*/ 0 h 2323145"/>
              <a:gd name="connsiteX0" fmla="*/ 0 w 11269336"/>
              <a:gd name="connsiteY0" fmla="*/ 0 h 2323145"/>
              <a:gd name="connsiteX1" fmla="*/ 11269336 w 11269336"/>
              <a:gd name="connsiteY1" fmla="*/ 0 h 2323145"/>
              <a:gd name="connsiteX2" fmla="*/ 11268645 w 11269336"/>
              <a:gd name="connsiteY2" fmla="*/ 511 h 2323145"/>
              <a:gd name="connsiteX3" fmla="*/ 11230739 w 11269336"/>
              <a:gd name="connsiteY3" fmla="*/ 37096 h 2323145"/>
              <a:gd name="connsiteX4" fmla="*/ 11082485 w 11269336"/>
              <a:gd name="connsiteY4" fmla="*/ 78590 h 2323145"/>
              <a:gd name="connsiteX5" fmla="*/ 11031776 w 11269336"/>
              <a:gd name="connsiteY5" fmla="*/ 79197 h 2323145"/>
              <a:gd name="connsiteX6" fmla="*/ 10995894 w 11269336"/>
              <a:gd name="connsiteY6" fmla="*/ 83459 h 2323145"/>
              <a:gd name="connsiteX7" fmla="*/ 10861177 w 11269336"/>
              <a:gd name="connsiteY7" fmla="*/ 147419 h 2323145"/>
              <a:gd name="connsiteX8" fmla="*/ 10782732 w 11269336"/>
              <a:gd name="connsiteY8" fmla="*/ 135645 h 2323145"/>
              <a:gd name="connsiteX9" fmla="*/ 10660773 w 11269336"/>
              <a:gd name="connsiteY9" fmla="*/ 179312 h 2323145"/>
              <a:gd name="connsiteX10" fmla="*/ 10564442 w 11269336"/>
              <a:gd name="connsiteY10" fmla="*/ 160738 h 2323145"/>
              <a:gd name="connsiteX11" fmla="*/ 10490200 w 11269336"/>
              <a:gd name="connsiteY11" fmla="*/ 183533 h 2323145"/>
              <a:gd name="connsiteX12" fmla="*/ 10271351 w 11269336"/>
              <a:gd name="connsiteY12" fmla="*/ 243104 h 2323145"/>
              <a:gd name="connsiteX13" fmla="*/ 10061033 w 11269336"/>
              <a:gd name="connsiteY13" fmla="*/ 364937 h 2323145"/>
              <a:gd name="connsiteX14" fmla="*/ 9921770 w 11269336"/>
              <a:gd name="connsiteY14" fmla="*/ 406154 h 2323145"/>
              <a:gd name="connsiteX15" fmla="*/ 9858388 w 11269336"/>
              <a:gd name="connsiteY15" fmla="*/ 439489 h 2323145"/>
              <a:gd name="connsiteX16" fmla="*/ 9811914 w 11269336"/>
              <a:gd name="connsiteY16" fmla="*/ 449865 h 2323145"/>
              <a:gd name="connsiteX17" fmla="*/ 9784394 w 11269336"/>
              <a:gd name="connsiteY17" fmla="*/ 457816 h 2323145"/>
              <a:gd name="connsiteX18" fmla="*/ 9656836 w 11269336"/>
              <a:gd name="connsiteY18" fmla="*/ 469967 h 2323145"/>
              <a:gd name="connsiteX19" fmla="*/ 9561575 w 11269336"/>
              <a:gd name="connsiteY19" fmla="*/ 559978 h 2323145"/>
              <a:gd name="connsiteX20" fmla="*/ 9162278 w 11269336"/>
              <a:gd name="connsiteY20" fmla="*/ 704724 h 2323145"/>
              <a:gd name="connsiteX21" fmla="*/ 9062863 w 11269336"/>
              <a:gd name="connsiteY21" fmla="*/ 754656 h 2323145"/>
              <a:gd name="connsiteX22" fmla="*/ 8914746 w 11269336"/>
              <a:gd name="connsiteY22" fmla="*/ 826428 h 2323145"/>
              <a:gd name="connsiteX23" fmla="*/ 8917778 w 11269336"/>
              <a:gd name="connsiteY23" fmla="*/ 835198 h 2323145"/>
              <a:gd name="connsiteX24" fmla="*/ 8905560 w 11269336"/>
              <a:gd name="connsiteY24" fmla="*/ 838358 h 2323145"/>
              <a:gd name="connsiteX25" fmla="*/ 8897564 w 11269336"/>
              <a:gd name="connsiteY25" fmla="*/ 834287 h 2323145"/>
              <a:gd name="connsiteX26" fmla="*/ 8878040 w 11269336"/>
              <a:gd name="connsiteY26" fmla="*/ 844150 h 2323145"/>
              <a:gd name="connsiteX27" fmla="*/ 8795998 w 11269336"/>
              <a:gd name="connsiteY27" fmla="*/ 863337 h 2323145"/>
              <a:gd name="connsiteX28" fmla="*/ 8776970 w 11269336"/>
              <a:gd name="connsiteY28" fmla="*/ 885177 h 2323145"/>
              <a:gd name="connsiteX29" fmla="*/ 8755719 w 11269336"/>
              <a:gd name="connsiteY29" fmla="*/ 889754 h 2323145"/>
              <a:gd name="connsiteX30" fmla="*/ 8743257 w 11269336"/>
              <a:gd name="connsiteY30" fmla="*/ 904723 h 2323145"/>
              <a:gd name="connsiteX31" fmla="*/ 8721366 w 11269336"/>
              <a:gd name="connsiteY31" fmla="*/ 904711 h 2323145"/>
              <a:gd name="connsiteX32" fmla="*/ 8678353 w 11269336"/>
              <a:gd name="connsiteY32" fmla="*/ 926318 h 2323145"/>
              <a:gd name="connsiteX33" fmla="*/ 8636849 w 11269336"/>
              <a:gd name="connsiteY33" fmla="*/ 937900 h 2323145"/>
              <a:gd name="connsiteX34" fmla="*/ 8620213 w 11269336"/>
              <a:gd name="connsiteY34" fmla="*/ 943068 h 2323145"/>
              <a:gd name="connsiteX35" fmla="*/ 8612581 w 11269336"/>
              <a:gd name="connsiteY35" fmla="*/ 952695 h 2323145"/>
              <a:gd name="connsiteX36" fmla="*/ 8589038 w 11269336"/>
              <a:gd name="connsiteY36" fmla="*/ 963892 h 2323145"/>
              <a:gd name="connsiteX37" fmla="*/ 8579950 w 11269336"/>
              <a:gd name="connsiteY37" fmla="*/ 960899 h 2323145"/>
              <a:gd name="connsiteX38" fmla="*/ 8579319 w 11269336"/>
              <a:gd name="connsiteY38" fmla="*/ 965630 h 2323145"/>
              <a:gd name="connsiteX39" fmla="*/ 8547429 w 11269336"/>
              <a:gd name="connsiteY39" fmla="*/ 984506 h 2323145"/>
              <a:gd name="connsiteX40" fmla="*/ 8478704 w 11269336"/>
              <a:gd name="connsiteY40" fmla="*/ 1025490 h 2323145"/>
              <a:gd name="connsiteX41" fmla="*/ 8461421 w 11269336"/>
              <a:gd name="connsiteY41" fmla="*/ 1035512 h 2323145"/>
              <a:gd name="connsiteX42" fmla="*/ 8445003 w 11269336"/>
              <a:gd name="connsiteY42" fmla="*/ 1036851 h 2323145"/>
              <a:gd name="connsiteX43" fmla="*/ 8357350 w 11269336"/>
              <a:gd name="connsiteY43" fmla="*/ 1060213 h 2323145"/>
              <a:gd name="connsiteX44" fmla="*/ 8335565 w 11269336"/>
              <a:gd name="connsiteY44" fmla="*/ 1061151 h 2323145"/>
              <a:gd name="connsiteX45" fmla="*/ 8325267 w 11269336"/>
              <a:gd name="connsiteY45" fmla="*/ 1055919 h 2323145"/>
              <a:gd name="connsiteX46" fmla="*/ 8293586 w 11269336"/>
              <a:gd name="connsiteY46" fmla="*/ 1076144 h 2323145"/>
              <a:gd name="connsiteX47" fmla="*/ 8242405 w 11269336"/>
              <a:gd name="connsiteY47" fmla="*/ 1095960 h 2323145"/>
              <a:gd name="connsiteX48" fmla="*/ 8197391 w 11269336"/>
              <a:gd name="connsiteY48" fmla="*/ 1107746 h 2323145"/>
              <a:gd name="connsiteX49" fmla="*/ 8081474 w 11269336"/>
              <a:gd name="connsiteY49" fmla="*/ 1130125 h 2323145"/>
              <a:gd name="connsiteX50" fmla="*/ 8053585 w 11269336"/>
              <a:gd name="connsiteY50" fmla="*/ 1129169 h 2323145"/>
              <a:gd name="connsiteX51" fmla="*/ 8038422 w 11269336"/>
              <a:gd name="connsiteY51" fmla="*/ 1119092 h 2323145"/>
              <a:gd name="connsiteX52" fmla="*/ 8029450 w 11269336"/>
              <a:gd name="connsiteY52" fmla="*/ 1125592 h 2323145"/>
              <a:gd name="connsiteX53" fmla="*/ 7959552 w 11269336"/>
              <a:gd name="connsiteY53" fmla="*/ 1140188 h 2323145"/>
              <a:gd name="connsiteX54" fmla="*/ 7914188 w 11269336"/>
              <a:gd name="connsiteY54" fmla="*/ 1150862 h 2323145"/>
              <a:gd name="connsiteX55" fmla="*/ 7914918 w 11269336"/>
              <a:gd name="connsiteY55" fmla="*/ 1168758 h 2323145"/>
              <a:gd name="connsiteX56" fmla="*/ 7875510 w 11269336"/>
              <a:gd name="connsiteY56" fmla="*/ 1183153 h 2323145"/>
              <a:gd name="connsiteX57" fmla="*/ 7829932 w 11269336"/>
              <a:gd name="connsiteY57" fmla="*/ 1180782 h 2323145"/>
              <a:gd name="connsiteX58" fmla="*/ 7779182 w 11269336"/>
              <a:gd name="connsiteY58" fmla="*/ 1192665 h 2323145"/>
              <a:gd name="connsiteX59" fmla="*/ 7748774 w 11269336"/>
              <a:gd name="connsiteY59" fmla="*/ 1199586 h 2323145"/>
              <a:gd name="connsiteX60" fmla="*/ 7671846 w 11269336"/>
              <a:gd name="connsiteY60" fmla="*/ 1231966 h 2323145"/>
              <a:gd name="connsiteX61" fmla="*/ 7554146 w 11269336"/>
              <a:gd name="connsiteY61" fmla="*/ 1319748 h 2323145"/>
              <a:gd name="connsiteX62" fmla="*/ 7515052 w 11269336"/>
              <a:gd name="connsiteY62" fmla="*/ 1336718 h 2323145"/>
              <a:gd name="connsiteX63" fmla="*/ 7507193 w 11269336"/>
              <a:gd name="connsiteY63" fmla="*/ 1334617 h 2323145"/>
              <a:gd name="connsiteX64" fmla="*/ 7461694 w 11269336"/>
              <a:gd name="connsiteY64" fmla="*/ 1375866 h 2323145"/>
              <a:gd name="connsiteX65" fmla="*/ 7377571 w 11269336"/>
              <a:gd name="connsiteY65" fmla="*/ 1400128 h 2323145"/>
              <a:gd name="connsiteX66" fmla="*/ 7311261 w 11269336"/>
              <a:gd name="connsiteY66" fmla="*/ 1412652 h 2323145"/>
              <a:gd name="connsiteX67" fmla="*/ 7275307 w 11269336"/>
              <a:gd name="connsiteY67" fmla="*/ 1422171 h 2323145"/>
              <a:gd name="connsiteX68" fmla="*/ 7247783 w 11269336"/>
              <a:gd name="connsiteY68" fmla="*/ 1426330 h 2323145"/>
              <a:gd name="connsiteX69" fmla="*/ 7185047 w 11269336"/>
              <a:gd name="connsiteY69" fmla="*/ 1451812 h 2323145"/>
              <a:gd name="connsiteX70" fmla="*/ 7084117 w 11269336"/>
              <a:gd name="connsiteY70" fmla="*/ 1500281 h 2323145"/>
              <a:gd name="connsiteX71" fmla="*/ 7062011 w 11269336"/>
              <a:gd name="connsiteY71" fmla="*/ 1509183 h 2323145"/>
              <a:gd name="connsiteX72" fmla="*/ 7040555 w 11269336"/>
              <a:gd name="connsiteY72" fmla="*/ 1511207 h 2323145"/>
              <a:gd name="connsiteX73" fmla="*/ 7033438 w 11269336"/>
              <a:gd name="connsiteY73" fmla="*/ 1506772 h 2323145"/>
              <a:gd name="connsiteX74" fmla="*/ 7020886 w 11269336"/>
              <a:gd name="connsiteY74" fmla="*/ 1510764 h 2323145"/>
              <a:gd name="connsiteX75" fmla="*/ 7017033 w 11269336"/>
              <a:gd name="connsiteY75" fmla="*/ 1510650 h 2323145"/>
              <a:gd name="connsiteX76" fmla="*/ 6995460 w 11269336"/>
              <a:gd name="connsiteY76" fmla="*/ 1511173 h 2323145"/>
              <a:gd name="connsiteX77" fmla="*/ 6962144 w 11269336"/>
              <a:gd name="connsiteY77" fmla="*/ 1541508 h 2323145"/>
              <a:gd name="connsiteX78" fmla="*/ 6910674 w 11269336"/>
              <a:gd name="connsiteY78" fmla="*/ 1554793 h 2323145"/>
              <a:gd name="connsiteX79" fmla="*/ 6732152 w 11269336"/>
              <a:gd name="connsiteY79" fmla="*/ 1642538 h 2323145"/>
              <a:gd name="connsiteX80" fmla="*/ 6694106 w 11269336"/>
              <a:gd name="connsiteY80" fmla="*/ 1632377 h 2323145"/>
              <a:gd name="connsiteX81" fmla="*/ 6617223 w 11269336"/>
              <a:gd name="connsiteY81" fmla="*/ 1659889 h 2323145"/>
              <a:gd name="connsiteX82" fmla="*/ 6521138 w 11269336"/>
              <a:gd name="connsiteY82" fmla="*/ 1744340 h 2323145"/>
              <a:gd name="connsiteX83" fmla="*/ 6380677 w 11269336"/>
              <a:gd name="connsiteY83" fmla="*/ 1796883 h 2323145"/>
              <a:gd name="connsiteX84" fmla="*/ 6374897 w 11269336"/>
              <a:gd name="connsiteY84" fmla="*/ 1809910 h 2323145"/>
              <a:gd name="connsiteX85" fmla="*/ 6364545 w 11269336"/>
              <a:gd name="connsiteY85" fmla="*/ 1820090 h 2323145"/>
              <a:gd name="connsiteX86" fmla="*/ 6362126 w 11269336"/>
              <a:gd name="connsiteY86" fmla="*/ 1819991 h 2323145"/>
              <a:gd name="connsiteX87" fmla="*/ 6346673 w 11269336"/>
              <a:gd name="connsiteY87" fmla="*/ 1827824 h 2323145"/>
              <a:gd name="connsiteX88" fmla="*/ 6345588 w 11269336"/>
              <a:gd name="connsiteY88" fmla="*/ 1832232 h 2323145"/>
              <a:gd name="connsiteX89" fmla="*/ 6335708 w 11269336"/>
              <a:gd name="connsiteY89" fmla="*/ 1838451 h 2323145"/>
              <a:gd name="connsiteX90" fmla="*/ 6318182 w 11269336"/>
              <a:gd name="connsiteY90" fmla="*/ 1852975 h 2323145"/>
              <a:gd name="connsiteX91" fmla="*/ 6313084 w 11269336"/>
              <a:gd name="connsiteY91" fmla="*/ 1853561 h 2323145"/>
              <a:gd name="connsiteX92" fmla="*/ 6283816 w 11269336"/>
              <a:gd name="connsiteY92" fmla="*/ 1872148 h 2323145"/>
              <a:gd name="connsiteX93" fmla="*/ 6282550 w 11269336"/>
              <a:gd name="connsiteY93" fmla="*/ 1871392 h 2323145"/>
              <a:gd name="connsiteX94" fmla="*/ 6270527 w 11269336"/>
              <a:gd name="connsiteY94" fmla="*/ 1872208 h 2323145"/>
              <a:gd name="connsiteX95" fmla="*/ 6249518 w 11269336"/>
              <a:gd name="connsiteY95" fmla="*/ 1876079 h 2323145"/>
              <a:gd name="connsiteX96" fmla="*/ 6190386 w 11269336"/>
              <a:gd name="connsiteY96" fmla="*/ 1872478 h 2323145"/>
              <a:gd name="connsiteX97" fmla="*/ 6159777 w 11269336"/>
              <a:gd name="connsiteY97" fmla="*/ 1891745 h 2323145"/>
              <a:gd name="connsiteX98" fmla="*/ 6153131 w 11269336"/>
              <a:gd name="connsiteY98" fmla="*/ 1895079 h 2323145"/>
              <a:gd name="connsiteX99" fmla="*/ 6152798 w 11269336"/>
              <a:gd name="connsiteY99" fmla="*/ 1894920 h 2323145"/>
              <a:gd name="connsiteX100" fmla="*/ 6145388 w 11269336"/>
              <a:gd name="connsiteY100" fmla="*/ 1897990 h 2323145"/>
              <a:gd name="connsiteX101" fmla="*/ 6141014 w 11269336"/>
              <a:gd name="connsiteY101" fmla="*/ 1901155 h 2323145"/>
              <a:gd name="connsiteX102" fmla="*/ 6128122 w 11269336"/>
              <a:gd name="connsiteY102" fmla="*/ 1907623 h 2323145"/>
              <a:gd name="connsiteX103" fmla="*/ 6122351 w 11269336"/>
              <a:gd name="connsiteY103" fmla="*/ 1908359 h 2323145"/>
              <a:gd name="connsiteX104" fmla="*/ 6064750 w 11269336"/>
              <a:gd name="connsiteY104" fmla="*/ 1896394 h 2323145"/>
              <a:gd name="connsiteX105" fmla="*/ 5964230 w 11269336"/>
              <a:gd name="connsiteY105" fmla="*/ 1910038 h 2323145"/>
              <a:gd name="connsiteX106" fmla="*/ 5865399 w 11269336"/>
              <a:gd name="connsiteY106" fmla="*/ 1926966 h 2323145"/>
              <a:gd name="connsiteX107" fmla="*/ 5829951 w 11269336"/>
              <a:gd name="connsiteY107" fmla="*/ 1934755 h 2323145"/>
              <a:gd name="connsiteX108" fmla="*/ 5765285 w 11269336"/>
              <a:gd name="connsiteY108" fmla="*/ 1941322 h 2323145"/>
              <a:gd name="connsiteX109" fmla="*/ 5734750 w 11269336"/>
              <a:gd name="connsiteY109" fmla="*/ 1939793 h 2323145"/>
              <a:gd name="connsiteX110" fmla="*/ 5733569 w 11269336"/>
              <a:gd name="connsiteY110" fmla="*/ 1940505 h 2323145"/>
              <a:gd name="connsiteX111" fmla="*/ 5730329 w 11269336"/>
              <a:gd name="connsiteY111" fmla="*/ 1937845 h 2323145"/>
              <a:gd name="connsiteX112" fmla="*/ 5724661 w 11269336"/>
              <a:gd name="connsiteY112" fmla="*/ 1937455 h 2323145"/>
              <a:gd name="connsiteX113" fmla="*/ 5710186 w 11269336"/>
              <a:gd name="connsiteY113" fmla="*/ 1941370 h 2323145"/>
              <a:gd name="connsiteX114" fmla="*/ 5704910 w 11269336"/>
              <a:gd name="connsiteY114" fmla="*/ 1943663 h 2323145"/>
              <a:gd name="connsiteX115" fmla="*/ 5696836 w 11269336"/>
              <a:gd name="connsiteY115" fmla="*/ 1945271 h 2323145"/>
              <a:gd name="connsiteX116" fmla="*/ 5696583 w 11269336"/>
              <a:gd name="connsiteY116" fmla="*/ 1945050 h 2323145"/>
              <a:gd name="connsiteX117" fmla="*/ 5689123 w 11269336"/>
              <a:gd name="connsiteY117" fmla="*/ 1947067 h 2323145"/>
              <a:gd name="connsiteX118" fmla="*/ 5653291 w 11269336"/>
              <a:gd name="connsiteY118" fmla="*/ 1960245 h 2323145"/>
              <a:gd name="connsiteX119" fmla="*/ 5599385 w 11269336"/>
              <a:gd name="connsiteY119" fmla="*/ 1945198 h 2323145"/>
              <a:gd name="connsiteX120" fmla="*/ 5578300 w 11269336"/>
              <a:gd name="connsiteY120" fmla="*/ 1944963 h 2323145"/>
              <a:gd name="connsiteX121" fmla="*/ 5566758 w 11269336"/>
              <a:gd name="connsiteY121" fmla="*/ 1943441 h 2323145"/>
              <a:gd name="connsiteX122" fmla="*/ 5565857 w 11269336"/>
              <a:gd name="connsiteY122" fmla="*/ 1942445 h 2323145"/>
              <a:gd name="connsiteX123" fmla="*/ 5531534 w 11269336"/>
              <a:gd name="connsiteY123" fmla="*/ 1955208 h 2323145"/>
              <a:gd name="connsiteX124" fmla="*/ 5526552 w 11269336"/>
              <a:gd name="connsiteY124" fmla="*/ 1954799 h 2323145"/>
              <a:gd name="connsiteX125" fmla="*/ 5504723 w 11269336"/>
              <a:gd name="connsiteY125" fmla="*/ 1965811 h 2323145"/>
              <a:gd name="connsiteX126" fmla="*/ 5493156 w 11269336"/>
              <a:gd name="connsiteY126" fmla="*/ 1970063 h 2323145"/>
              <a:gd name="connsiteX127" fmla="*/ 5490486 w 11269336"/>
              <a:gd name="connsiteY127" fmla="*/ 1974227 h 2323145"/>
              <a:gd name="connsiteX128" fmla="*/ 5473107 w 11269336"/>
              <a:gd name="connsiteY128" fmla="*/ 1979001 h 2323145"/>
              <a:gd name="connsiteX129" fmla="*/ 5470885 w 11269336"/>
              <a:gd name="connsiteY129" fmla="*/ 1978432 h 2323145"/>
              <a:gd name="connsiteX130" fmla="*/ 5457393 w 11269336"/>
              <a:gd name="connsiteY130" fmla="*/ 1986525 h 2323145"/>
              <a:gd name="connsiteX131" fmla="*/ 5447102 w 11269336"/>
              <a:gd name="connsiteY131" fmla="*/ 1998329 h 2323145"/>
              <a:gd name="connsiteX132" fmla="*/ 5159151 w 11269336"/>
              <a:gd name="connsiteY132" fmla="*/ 2029640 h 2323145"/>
              <a:gd name="connsiteX133" fmla="*/ 5098838 w 11269336"/>
              <a:gd name="connsiteY133" fmla="*/ 2062961 h 2323145"/>
              <a:gd name="connsiteX134" fmla="*/ 4860988 w 11269336"/>
              <a:gd name="connsiteY134" fmla="*/ 2135698 h 2323145"/>
              <a:gd name="connsiteX135" fmla="*/ 4765388 w 11269336"/>
              <a:gd name="connsiteY135" fmla="*/ 2162525 h 2323145"/>
              <a:gd name="connsiteX136" fmla="*/ 4745033 w 11269336"/>
              <a:gd name="connsiteY136" fmla="*/ 2158859 h 2323145"/>
              <a:gd name="connsiteX137" fmla="*/ 4741475 w 11269336"/>
              <a:gd name="connsiteY137" fmla="*/ 2157998 h 2323145"/>
              <a:gd name="connsiteX138" fmla="*/ 4728247 w 11269336"/>
              <a:gd name="connsiteY138" fmla="*/ 2159526 h 2323145"/>
              <a:gd name="connsiteX139" fmla="*/ 4723263 w 11269336"/>
              <a:gd name="connsiteY139" fmla="*/ 2153742 h 2323145"/>
              <a:gd name="connsiteX140" fmla="*/ 4593061 w 11269336"/>
              <a:gd name="connsiteY140" fmla="*/ 2171597 h 2323145"/>
              <a:gd name="connsiteX141" fmla="*/ 4405765 w 11269336"/>
              <a:gd name="connsiteY141" fmla="*/ 2199902 h 2323145"/>
              <a:gd name="connsiteX142" fmla="*/ 4401354 w 11269336"/>
              <a:gd name="connsiteY142" fmla="*/ 2194745 h 2323145"/>
              <a:gd name="connsiteX143" fmla="*/ 4366646 w 11269336"/>
              <a:gd name="connsiteY143" fmla="*/ 2198564 h 2323145"/>
              <a:gd name="connsiteX144" fmla="*/ 4354009 w 11269336"/>
              <a:gd name="connsiteY144" fmla="*/ 2204984 h 2323145"/>
              <a:gd name="connsiteX145" fmla="*/ 4348284 w 11269336"/>
              <a:gd name="connsiteY145" fmla="*/ 2205270 h 2323145"/>
              <a:gd name="connsiteX146" fmla="*/ 4333906 w 11269336"/>
              <a:gd name="connsiteY146" fmla="*/ 2205251 h 2323145"/>
              <a:gd name="connsiteX147" fmla="*/ 4308819 w 11269336"/>
              <a:gd name="connsiteY147" fmla="*/ 2203822 h 2323145"/>
              <a:gd name="connsiteX148" fmla="*/ 4301210 w 11269336"/>
              <a:gd name="connsiteY148" fmla="*/ 2204456 h 2323145"/>
              <a:gd name="connsiteX149" fmla="*/ 4283095 w 11269336"/>
              <a:gd name="connsiteY149" fmla="*/ 2198177 h 2323145"/>
              <a:gd name="connsiteX150" fmla="*/ 4250119 w 11269336"/>
              <a:gd name="connsiteY150" fmla="*/ 2196342 h 2323145"/>
              <a:gd name="connsiteX151" fmla="*/ 4189203 w 11269336"/>
              <a:gd name="connsiteY151" fmla="*/ 2178994 h 2323145"/>
              <a:gd name="connsiteX152" fmla="*/ 4154035 w 11269336"/>
              <a:gd name="connsiteY152" fmla="*/ 2171950 h 2323145"/>
              <a:gd name="connsiteX153" fmla="*/ 4129569 w 11269336"/>
              <a:gd name="connsiteY153" fmla="*/ 2163850 h 2323145"/>
              <a:gd name="connsiteX154" fmla="*/ 4061250 w 11269336"/>
              <a:gd name="connsiteY154" fmla="*/ 2159236 h 2323145"/>
              <a:gd name="connsiteX155" fmla="*/ 3945480 w 11269336"/>
              <a:gd name="connsiteY155" fmla="*/ 2158279 h 2323145"/>
              <a:gd name="connsiteX156" fmla="*/ 3921468 w 11269336"/>
              <a:gd name="connsiteY156" fmla="*/ 2156588 h 2323145"/>
              <a:gd name="connsiteX157" fmla="*/ 3903348 w 11269336"/>
              <a:gd name="connsiteY157" fmla="*/ 2149220 h 2323145"/>
              <a:gd name="connsiteX158" fmla="*/ 3901342 w 11269336"/>
              <a:gd name="connsiteY158" fmla="*/ 2142355 h 2323145"/>
              <a:gd name="connsiteX159" fmla="*/ 3888539 w 11269336"/>
              <a:gd name="connsiteY159" fmla="*/ 2140476 h 2323145"/>
              <a:gd name="connsiteX160" fmla="*/ 3885662 w 11269336"/>
              <a:gd name="connsiteY160" fmla="*/ 2138740 h 2323145"/>
              <a:gd name="connsiteX161" fmla="*/ 3868627 w 11269336"/>
              <a:gd name="connsiteY161" fmla="*/ 2130023 h 2323145"/>
              <a:gd name="connsiteX162" fmla="*/ 3819177 w 11269336"/>
              <a:gd name="connsiteY162" fmla="*/ 2142111 h 2323145"/>
              <a:gd name="connsiteX163" fmla="*/ 3769100 w 11269336"/>
              <a:gd name="connsiteY163" fmla="*/ 2131731 h 2323145"/>
              <a:gd name="connsiteX164" fmla="*/ 3562752 w 11269336"/>
              <a:gd name="connsiteY164" fmla="*/ 2131785 h 2323145"/>
              <a:gd name="connsiteX165" fmla="*/ 3541402 w 11269336"/>
              <a:gd name="connsiteY165" fmla="*/ 2106821 h 2323145"/>
              <a:gd name="connsiteX166" fmla="*/ 3365341 w 11269336"/>
              <a:gd name="connsiteY166" fmla="*/ 2077638 h 2323145"/>
              <a:gd name="connsiteX167" fmla="*/ 3170922 w 11269336"/>
              <a:gd name="connsiteY167" fmla="*/ 2115957 h 2323145"/>
              <a:gd name="connsiteX168" fmla="*/ 3156256 w 11269336"/>
              <a:gd name="connsiteY168" fmla="*/ 2124773 h 2323145"/>
              <a:gd name="connsiteX169" fmla="*/ 3140298 w 11269336"/>
              <a:gd name="connsiteY169" fmla="*/ 2129182 h 2323145"/>
              <a:gd name="connsiteX170" fmla="*/ 3138514 w 11269336"/>
              <a:gd name="connsiteY170" fmla="*/ 2128069 h 2323145"/>
              <a:gd name="connsiteX171" fmla="*/ 3120467 w 11269336"/>
              <a:gd name="connsiteY171" fmla="*/ 2128281 h 2323145"/>
              <a:gd name="connsiteX172" fmla="*/ 3116175 w 11269336"/>
              <a:gd name="connsiteY172" fmla="*/ 2131633 h 2323145"/>
              <a:gd name="connsiteX173" fmla="*/ 3103685 w 11269336"/>
              <a:gd name="connsiteY173" fmla="*/ 2132814 h 2323145"/>
              <a:gd name="connsiteX174" fmla="*/ 3078794 w 11269336"/>
              <a:gd name="connsiteY174" fmla="*/ 2137935 h 2323145"/>
              <a:gd name="connsiteX175" fmla="*/ 3074407 w 11269336"/>
              <a:gd name="connsiteY175" fmla="*/ 2136274 h 2323145"/>
              <a:gd name="connsiteX176" fmla="*/ 3037285 w 11269336"/>
              <a:gd name="connsiteY176" fmla="*/ 2139919 h 2323145"/>
              <a:gd name="connsiteX177" fmla="*/ 3036901 w 11269336"/>
              <a:gd name="connsiteY177" fmla="*/ 2138726 h 2323145"/>
              <a:gd name="connsiteX178" fmla="*/ 3026996 w 11269336"/>
              <a:gd name="connsiteY178" fmla="*/ 2134322 h 2323145"/>
              <a:gd name="connsiteX179" fmla="*/ 3007772 w 11269336"/>
              <a:gd name="connsiteY179" fmla="*/ 2128742 h 2323145"/>
              <a:gd name="connsiteX180" fmla="*/ 2965030 w 11269336"/>
              <a:gd name="connsiteY180" fmla="*/ 2100494 h 2323145"/>
              <a:gd name="connsiteX181" fmla="*/ 2926342 w 11269336"/>
              <a:gd name="connsiteY181" fmla="*/ 2104155 h 2323145"/>
              <a:gd name="connsiteX182" fmla="*/ 2918608 w 11269336"/>
              <a:gd name="connsiteY182" fmla="*/ 2104215 h 2323145"/>
              <a:gd name="connsiteX183" fmla="*/ 2918475 w 11269336"/>
              <a:gd name="connsiteY183" fmla="*/ 2103937 h 2323145"/>
              <a:gd name="connsiteX184" fmla="*/ 2910360 w 11269336"/>
              <a:gd name="connsiteY184" fmla="*/ 2103444 h 2323145"/>
              <a:gd name="connsiteX185" fmla="*/ 2904507 w 11269336"/>
              <a:gd name="connsiteY185" fmla="*/ 2104326 h 2323145"/>
              <a:gd name="connsiteX186" fmla="*/ 2889503 w 11269336"/>
              <a:gd name="connsiteY186" fmla="*/ 2104443 h 2323145"/>
              <a:gd name="connsiteX187" fmla="*/ 2884480 w 11269336"/>
              <a:gd name="connsiteY187" fmla="*/ 2102626 h 2323145"/>
              <a:gd name="connsiteX188" fmla="*/ 2882689 w 11269336"/>
              <a:gd name="connsiteY188" fmla="*/ 2099228 h 2323145"/>
              <a:gd name="connsiteX189" fmla="*/ 2881291 w 11269336"/>
              <a:gd name="connsiteY189" fmla="*/ 2099618 h 2323145"/>
              <a:gd name="connsiteX190" fmla="*/ 2853979 w 11269336"/>
              <a:gd name="connsiteY190" fmla="*/ 2090388 h 2323145"/>
              <a:gd name="connsiteX191" fmla="*/ 2791790 w 11269336"/>
              <a:gd name="connsiteY191" fmla="*/ 2080332 h 2323145"/>
              <a:gd name="connsiteX192" fmla="*/ 2755844 w 11269336"/>
              <a:gd name="connsiteY192" fmla="*/ 2078874 h 2323145"/>
              <a:gd name="connsiteX193" fmla="*/ 2657742 w 11269336"/>
              <a:gd name="connsiteY193" fmla="*/ 2070179 h 2323145"/>
              <a:gd name="connsiteX194" fmla="*/ 2559549 w 11269336"/>
              <a:gd name="connsiteY194" fmla="*/ 2057873 h 2323145"/>
              <a:gd name="connsiteX195" fmla="*/ 2512054 w 11269336"/>
              <a:gd name="connsiteY195" fmla="*/ 2031671 h 2323145"/>
              <a:gd name="connsiteX196" fmla="*/ 2506437 w 11269336"/>
              <a:gd name="connsiteY196" fmla="*/ 2030918 h 2323145"/>
              <a:gd name="connsiteX197" fmla="*/ 2491752 w 11269336"/>
              <a:gd name="connsiteY197" fmla="*/ 2033906 h 2323145"/>
              <a:gd name="connsiteX198" fmla="*/ 2486338 w 11269336"/>
              <a:gd name="connsiteY198" fmla="*/ 2035862 h 2323145"/>
              <a:gd name="connsiteX199" fmla="*/ 2478186 w 11269336"/>
              <a:gd name="connsiteY199" fmla="*/ 2036953 h 2323145"/>
              <a:gd name="connsiteX200" fmla="*/ 2477950 w 11269336"/>
              <a:gd name="connsiteY200" fmla="*/ 2036715 h 2323145"/>
              <a:gd name="connsiteX201" fmla="*/ 2470381 w 11269336"/>
              <a:gd name="connsiteY201" fmla="*/ 2038256 h 2323145"/>
              <a:gd name="connsiteX202" fmla="*/ 2433781 w 11269336"/>
              <a:gd name="connsiteY202" fmla="*/ 2049140 h 2323145"/>
              <a:gd name="connsiteX203" fmla="*/ 2381172 w 11269336"/>
              <a:gd name="connsiteY203" fmla="*/ 2030645 h 2323145"/>
              <a:gd name="connsiteX204" fmla="*/ 2360198 w 11269336"/>
              <a:gd name="connsiteY204" fmla="*/ 2029059 h 2323145"/>
              <a:gd name="connsiteX205" fmla="*/ 2348815 w 11269336"/>
              <a:gd name="connsiteY205" fmla="*/ 2026798 h 2323145"/>
              <a:gd name="connsiteX206" fmla="*/ 2347988 w 11269336"/>
              <a:gd name="connsiteY206" fmla="*/ 2025745 h 2323145"/>
              <a:gd name="connsiteX207" fmla="*/ 2312920 w 11269336"/>
              <a:gd name="connsiteY207" fmla="*/ 2036311 h 2323145"/>
              <a:gd name="connsiteX208" fmla="*/ 2307986 w 11269336"/>
              <a:gd name="connsiteY208" fmla="*/ 2035583 h 2323145"/>
              <a:gd name="connsiteX209" fmla="*/ 2285481 w 11269336"/>
              <a:gd name="connsiteY209" fmla="*/ 2045197 h 2323145"/>
              <a:gd name="connsiteX210" fmla="*/ 2273666 w 11269336"/>
              <a:gd name="connsiteY210" fmla="*/ 2048710 h 2323145"/>
              <a:gd name="connsiteX211" fmla="*/ 2270719 w 11269336"/>
              <a:gd name="connsiteY211" fmla="*/ 2052702 h 2323145"/>
              <a:gd name="connsiteX212" fmla="*/ 2253080 w 11269336"/>
              <a:gd name="connsiteY212" fmla="*/ 2056363 h 2323145"/>
              <a:gd name="connsiteX213" fmla="*/ 2250906 w 11269336"/>
              <a:gd name="connsiteY213" fmla="*/ 2055654 h 2323145"/>
              <a:gd name="connsiteX214" fmla="*/ 2236905 w 11269336"/>
              <a:gd name="connsiteY214" fmla="*/ 2062882 h 2323145"/>
              <a:gd name="connsiteX215" fmla="*/ 2225830 w 11269336"/>
              <a:gd name="connsiteY215" fmla="*/ 2074027 h 2323145"/>
              <a:gd name="connsiteX216" fmla="*/ 2073776 w 11269336"/>
              <a:gd name="connsiteY216" fmla="*/ 2089244 h 2323145"/>
              <a:gd name="connsiteX217" fmla="*/ 1948256 w 11269336"/>
              <a:gd name="connsiteY217" fmla="*/ 2146616 h 2323145"/>
              <a:gd name="connsiteX218" fmla="*/ 1865582 w 11269336"/>
              <a:gd name="connsiteY218" fmla="*/ 2153738 h 2323145"/>
              <a:gd name="connsiteX219" fmla="*/ 1835210 w 11269336"/>
              <a:gd name="connsiteY219" fmla="*/ 2134244 h 2323145"/>
              <a:gd name="connsiteX220" fmla="*/ 1632661 w 11269336"/>
              <a:gd name="connsiteY220" fmla="*/ 2173882 h 2323145"/>
              <a:gd name="connsiteX221" fmla="*/ 1579590 w 11269336"/>
              <a:gd name="connsiteY221" fmla="*/ 2173680 h 2323145"/>
              <a:gd name="connsiteX222" fmla="*/ 1535601 w 11269336"/>
              <a:gd name="connsiteY222" fmla="*/ 2194590 h 2323145"/>
              <a:gd name="connsiteX223" fmla="*/ 1515594 w 11269336"/>
              <a:gd name="connsiteY223" fmla="*/ 2189622 h 2323145"/>
              <a:gd name="connsiteX224" fmla="*/ 1512113 w 11269336"/>
              <a:gd name="connsiteY224" fmla="*/ 2188534 h 2323145"/>
              <a:gd name="connsiteX225" fmla="*/ 1498838 w 11269336"/>
              <a:gd name="connsiteY225" fmla="*/ 2189213 h 2323145"/>
              <a:gd name="connsiteX226" fmla="*/ 1494279 w 11269336"/>
              <a:gd name="connsiteY226" fmla="*/ 2183112 h 2323145"/>
              <a:gd name="connsiteX227" fmla="*/ 1473714 w 11269336"/>
              <a:gd name="connsiteY227" fmla="*/ 2179625 h 2323145"/>
              <a:gd name="connsiteX228" fmla="*/ 1449503 w 11269336"/>
              <a:gd name="connsiteY228" fmla="*/ 2182633 h 2323145"/>
              <a:gd name="connsiteX229" fmla="*/ 1266687 w 11269336"/>
              <a:gd name="connsiteY229" fmla="*/ 2212688 h 2323145"/>
              <a:gd name="connsiteX230" fmla="*/ 1239614 w 11269336"/>
              <a:gd name="connsiteY230" fmla="*/ 2209727 h 2323145"/>
              <a:gd name="connsiteX231" fmla="*/ 1202436 w 11269336"/>
              <a:gd name="connsiteY231" fmla="*/ 2209817 h 2323145"/>
              <a:gd name="connsiteX232" fmla="*/ 1136097 w 11269336"/>
              <a:gd name="connsiteY232" fmla="*/ 2205112 h 2323145"/>
              <a:gd name="connsiteX233" fmla="*/ 988232 w 11269336"/>
              <a:gd name="connsiteY233" fmla="*/ 2235635 h 2323145"/>
              <a:gd name="connsiteX234" fmla="*/ 981959 w 11269336"/>
              <a:gd name="connsiteY234" fmla="*/ 2231607 h 2323145"/>
              <a:gd name="connsiteX235" fmla="*/ 938600 w 11269336"/>
              <a:gd name="connsiteY235" fmla="*/ 2238113 h 2323145"/>
              <a:gd name="connsiteX236" fmla="*/ 791788 w 11269336"/>
              <a:gd name="connsiteY236" fmla="*/ 2293224 h 2323145"/>
              <a:gd name="connsiteX237" fmla="*/ 706914 w 11269336"/>
              <a:gd name="connsiteY237" fmla="*/ 2305046 h 2323145"/>
              <a:gd name="connsiteX238" fmla="*/ 675971 w 11269336"/>
              <a:gd name="connsiteY238" fmla="*/ 2304030 h 2323145"/>
              <a:gd name="connsiteX239" fmla="*/ 624180 w 11269336"/>
              <a:gd name="connsiteY239" fmla="*/ 2302650 h 2323145"/>
              <a:gd name="connsiteX240" fmla="*/ 583453 w 11269336"/>
              <a:gd name="connsiteY240" fmla="*/ 2288788 h 2323145"/>
              <a:gd name="connsiteX241" fmla="*/ 540946 w 11269336"/>
              <a:gd name="connsiteY241" fmla="*/ 2292721 h 2323145"/>
              <a:gd name="connsiteX242" fmla="*/ 533680 w 11269336"/>
              <a:gd name="connsiteY242" fmla="*/ 2310233 h 2323145"/>
              <a:gd name="connsiteX243" fmla="*/ 487366 w 11269336"/>
              <a:gd name="connsiteY243" fmla="*/ 2309053 h 2323145"/>
              <a:gd name="connsiteX244" fmla="*/ 416820 w 11269336"/>
              <a:gd name="connsiteY244" fmla="*/ 2305443 h 2323145"/>
              <a:gd name="connsiteX245" fmla="*/ 376805 w 11269336"/>
              <a:gd name="connsiteY245" fmla="*/ 2307647 h 2323145"/>
              <a:gd name="connsiteX246" fmla="*/ 266777 w 11269336"/>
              <a:gd name="connsiteY246" fmla="*/ 2309012 h 2323145"/>
              <a:gd name="connsiteX247" fmla="*/ 156013 w 11269336"/>
              <a:gd name="connsiteY247" fmla="*/ 2306832 h 2323145"/>
              <a:gd name="connsiteX248" fmla="*/ 87258 w 11269336"/>
              <a:gd name="connsiteY248" fmla="*/ 2285511 h 2323145"/>
              <a:gd name="connsiteX249" fmla="*/ 23798 w 11269336"/>
              <a:gd name="connsiteY249" fmla="*/ 2281822 h 2323145"/>
              <a:gd name="connsiteX250" fmla="*/ 0 w 11269336"/>
              <a:gd name="connsiteY250" fmla="*/ 2285369 h 2323145"/>
              <a:gd name="connsiteX251" fmla="*/ 0 w 11269336"/>
              <a:gd name="connsiteY251" fmla="*/ 0 h 23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1269336" h="2323145">
                <a:moveTo>
                  <a:pt x="0" y="0"/>
                </a:moveTo>
                <a:lnTo>
                  <a:pt x="11269336" y="0"/>
                </a:lnTo>
                <a:lnTo>
                  <a:pt x="11268645" y="511"/>
                </a:lnTo>
                <a:cubicBezTo>
                  <a:pt x="11257520" y="14091"/>
                  <a:pt x="11248967" y="32073"/>
                  <a:pt x="11230739" y="37096"/>
                </a:cubicBezTo>
                <a:cubicBezTo>
                  <a:pt x="11194283" y="47141"/>
                  <a:pt x="11124351" y="55013"/>
                  <a:pt x="11082485" y="78590"/>
                </a:cubicBezTo>
                <a:cubicBezTo>
                  <a:pt x="11064655" y="69818"/>
                  <a:pt x="11049588" y="97621"/>
                  <a:pt x="11031776" y="79197"/>
                </a:cubicBezTo>
                <a:cubicBezTo>
                  <a:pt x="11016683" y="85023"/>
                  <a:pt x="11009945" y="92832"/>
                  <a:pt x="10995894" y="83459"/>
                </a:cubicBezTo>
                <a:cubicBezTo>
                  <a:pt x="10971843" y="134740"/>
                  <a:pt x="10888992" y="106042"/>
                  <a:pt x="10861177" y="147419"/>
                </a:cubicBezTo>
                <a:cubicBezTo>
                  <a:pt x="10850370" y="129415"/>
                  <a:pt x="10807086" y="138624"/>
                  <a:pt x="10782732" y="135645"/>
                </a:cubicBezTo>
                <a:cubicBezTo>
                  <a:pt x="10869014" y="196205"/>
                  <a:pt x="10693356" y="147304"/>
                  <a:pt x="10660773" y="179312"/>
                </a:cubicBezTo>
                <a:cubicBezTo>
                  <a:pt x="10667385" y="121467"/>
                  <a:pt x="10595265" y="182241"/>
                  <a:pt x="10564442" y="160738"/>
                </a:cubicBezTo>
                <a:cubicBezTo>
                  <a:pt x="10544419" y="190949"/>
                  <a:pt x="10518436" y="167191"/>
                  <a:pt x="10490200" y="183533"/>
                </a:cubicBezTo>
                <a:cubicBezTo>
                  <a:pt x="10423905" y="202688"/>
                  <a:pt x="10362764" y="244779"/>
                  <a:pt x="10271351" y="243104"/>
                </a:cubicBezTo>
                <a:cubicBezTo>
                  <a:pt x="10247818" y="329775"/>
                  <a:pt x="10135674" y="303068"/>
                  <a:pt x="10061033" y="364937"/>
                </a:cubicBezTo>
                <a:cubicBezTo>
                  <a:pt x="10014289" y="383940"/>
                  <a:pt x="9930032" y="360289"/>
                  <a:pt x="9921770" y="406154"/>
                </a:cubicBezTo>
                <a:cubicBezTo>
                  <a:pt x="9894276" y="384665"/>
                  <a:pt x="9881945" y="430851"/>
                  <a:pt x="9858388" y="439489"/>
                </a:cubicBezTo>
                <a:cubicBezTo>
                  <a:pt x="9835642" y="426888"/>
                  <a:pt x="9828901" y="443125"/>
                  <a:pt x="9811914" y="449865"/>
                </a:cubicBezTo>
                <a:cubicBezTo>
                  <a:pt x="9801869" y="441287"/>
                  <a:pt x="9787055" y="444835"/>
                  <a:pt x="9784394" y="457816"/>
                </a:cubicBezTo>
                <a:cubicBezTo>
                  <a:pt x="9797169" y="483924"/>
                  <a:pt x="9656844" y="450179"/>
                  <a:pt x="9656836" y="469967"/>
                </a:cubicBezTo>
                <a:cubicBezTo>
                  <a:pt x="9589537" y="485301"/>
                  <a:pt x="9662097" y="527310"/>
                  <a:pt x="9561575" y="559978"/>
                </a:cubicBezTo>
                <a:cubicBezTo>
                  <a:pt x="9479149" y="599104"/>
                  <a:pt x="9215234" y="670585"/>
                  <a:pt x="9162278" y="704724"/>
                </a:cubicBezTo>
                <a:cubicBezTo>
                  <a:pt x="9173017" y="730567"/>
                  <a:pt x="9063215" y="727685"/>
                  <a:pt x="9062863" y="754656"/>
                </a:cubicBezTo>
                <a:cubicBezTo>
                  <a:pt x="9021608" y="774940"/>
                  <a:pt x="8924639" y="816390"/>
                  <a:pt x="8914746" y="826428"/>
                </a:cubicBezTo>
                <a:lnTo>
                  <a:pt x="8917778" y="835198"/>
                </a:lnTo>
                <a:lnTo>
                  <a:pt x="8905560" y="838358"/>
                </a:lnTo>
                <a:lnTo>
                  <a:pt x="8897564" y="834287"/>
                </a:lnTo>
                <a:lnTo>
                  <a:pt x="8878040" y="844150"/>
                </a:lnTo>
                <a:cubicBezTo>
                  <a:pt x="8861112" y="848992"/>
                  <a:pt x="8812843" y="856499"/>
                  <a:pt x="8795998" y="863337"/>
                </a:cubicBezTo>
                <a:cubicBezTo>
                  <a:pt x="8792888" y="873975"/>
                  <a:pt x="8786153" y="880792"/>
                  <a:pt x="8776970" y="885177"/>
                </a:cubicBezTo>
                <a:lnTo>
                  <a:pt x="8755719" y="889754"/>
                </a:lnTo>
                <a:lnTo>
                  <a:pt x="8743257" y="904723"/>
                </a:lnTo>
                <a:cubicBezTo>
                  <a:pt x="8737642" y="908108"/>
                  <a:pt x="8730651" y="908759"/>
                  <a:pt x="8721366" y="904711"/>
                </a:cubicBezTo>
                <a:cubicBezTo>
                  <a:pt x="8711895" y="915873"/>
                  <a:pt x="8676250" y="900745"/>
                  <a:pt x="8678353" y="926318"/>
                </a:cubicBezTo>
                <a:cubicBezTo>
                  <a:pt x="8658506" y="928813"/>
                  <a:pt x="8647569" y="933735"/>
                  <a:pt x="8636849" y="937900"/>
                </a:cubicBezTo>
                <a:lnTo>
                  <a:pt x="8620213" y="943068"/>
                </a:lnTo>
                <a:lnTo>
                  <a:pt x="8612581" y="952695"/>
                </a:lnTo>
                <a:cubicBezTo>
                  <a:pt x="8605836" y="959769"/>
                  <a:pt x="8598255" y="964412"/>
                  <a:pt x="8589038" y="963892"/>
                </a:cubicBezTo>
                <a:lnTo>
                  <a:pt x="8579950" y="960899"/>
                </a:lnTo>
                <a:cubicBezTo>
                  <a:pt x="8579740" y="962476"/>
                  <a:pt x="8579529" y="964053"/>
                  <a:pt x="8579319" y="965630"/>
                </a:cubicBezTo>
                <a:cubicBezTo>
                  <a:pt x="8579138" y="972972"/>
                  <a:pt x="8576531" y="980010"/>
                  <a:pt x="8547429" y="984506"/>
                </a:cubicBezTo>
                <a:cubicBezTo>
                  <a:pt x="8529238" y="1001725"/>
                  <a:pt x="8505565" y="1015840"/>
                  <a:pt x="8478704" y="1025490"/>
                </a:cubicBezTo>
                <a:cubicBezTo>
                  <a:pt x="8473109" y="1019545"/>
                  <a:pt x="8465819" y="1032194"/>
                  <a:pt x="8461421" y="1035512"/>
                </a:cubicBezTo>
                <a:cubicBezTo>
                  <a:pt x="8459739" y="1031087"/>
                  <a:pt x="8447663" y="1032074"/>
                  <a:pt x="8445003" y="1036851"/>
                </a:cubicBezTo>
                <a:cubicBezTo>
                  <a:pt x="8366593" y="1075951"/>
                  <a:pt x="8398773" y="1021402"/>
                  <a:pt x="8357350" y="1060213"/>
                </a:cubicBezTo>
                <a:cubicBezTo>
                  <a:pt x="8349366" y="1063843"/>
                  <a:pt x="8342208" y="1063367"/>
                  <a:pt x="8335565" y="1061151"/>
                </a:cubicBezTo>
                <a:lnTo>
                  <a:pt x="8325267" y="1055919"/>
                </a:lnTo>
                <a:lnTo>
                  <a:pt x="8293586" y="1076144"/>
                </a:lnTo>
                <a:cubicBezTo>
                  <a:pt x="8277595" y="1084193"/>
                  <a:pt x="8260401" y="1090863"/>
                  <a:pt x="8242405" y="1095960"/>
                </a:cubicBezTo>
                <a:cubicBezTo>
                  <a:pt x="8226373" y="1101227"/>
                  <a:pt x="8224213" y="1102052"/>
                  <a:pt x="8197391" y="1107746"/>
                </a:cubicBezTo>
                <a:cubicBezTo>
                  <a:pt x="8090266" y="1152133"/>
                  <a:pt x="8141491" y="1082372"/>
                  <a:pt x="8081474" y="1130125"/>
                </a:cubicBezTo>
                <a:cubicBezTo>
                  <a:pt x="8070634" y="1134173"/>
                  <a:pt x="8061619" y="1132810"/>
                  <a:pt x="8053585" y="1129169"/>
                </a:cubicBezTo>
                <a:lnTo>
                  <a:pt x="8038422" y="1119092"/>
                </a:lnTo>
                <a:lnTo>
                  <a:pt x="8029450" y="1125592"/>
                </a:lnTo>
                <a:cubicBezTo>
                  <a:pt x="7992226" y="1133484"/>
                  <a:pt x="7978616" y="1122765"/>
                  <a:pt x="7959552" y="1140188"/>
                </a:cubicBezTo>
                <a:cubicBezTo>
                  <a:pt x="7922008" y="1119572"/>
                  <a:pt x="7937737" y="1141786"/>
                  <a:pt x="7914188" y="1150862"/>
                </a:cubicBezTo>
                <a:cubicBezTo>
                  <a:pt x="7896037" y="1160155"/>
                  <a:pt x="7933463" y="1163411"/>
                  <a:pt x="7914918" y="1168758"/>
                </a:cubicBezTo>
                <a:cubicBezTo>
                  <a:pt x="7893102" y="1165887"/>
                  <a:pt x="7898453" y="1187420"/>
                  <a:pt x="7875510" y="1183153"/>
                </a:cubicBezTo>
                <a:cubicBezTo>
                  <a:pt x="7877354" y="1165743"/>
                  <a:pt x="7834286" y="1194789"/>
                  <a:pt x="7829932" y="1180782"/>
                </a:cubicBezTo>
                <a:cubicBezTo>
                  <a:pt x="7816047" y="1204874"/>
                  <a:pt x="7801901" y="1181513"/>
                  <a:pt x="7779182" y="1192665"/>
                </a:cubicBezTo>
                <a:cubicBezTo>
                  <a:pt x="7769446" y="1202686"/>
                  <a:pt x="7761564" y="1205661"/>
                  <a:pt x="7748774" y="1199586"/>
                </a:cubicBezTo>
                <a:cubicBezTo>
                  <a:pt x="7704339" y="1247771"/>
                  <a:pt x="7717626" y="1207638"/>
                  <a:pt x="7671846" y="1231966"/>
                </a:cubicBezTo>
                <a:cubicBezTo>
                  <a:pt x="7632956" y="1255682"/>
                  <a:pt x="7587383" y="1275180"/>
                  <a:pt x="7554146" y="1319748"/>
                </a:cubicBezTo>
                <a:cubicBezTo>
                  <a:pt x="7548775" y="1331557"/>
                  <a:pt x="7531272" y="1339155"/>
                  <a:pt x="7515052" y="1336718"/>
                </a:cubicBezTo>
                <a:cubicBezTo>
                  <a:pt x="7512260" y="1336298"/>
                  <a:pt x="7509613" y="1335590"/>
                  <a:pt x="7507193" y="1334617"/>
                </a:cubicBezTo>
                <a:cubicBezTo>
                  <a:pt x="7488273" y="1365207"/>
                  <a:pt x="7468925" y="1356298"/>
                  <a:pt x="7461694" y="1375866"/>
                </a:cubicBezTo>
                <a:cubicBezTo>
                  <a:pt x="7422434" y="1391917"/>
                  <a:pt x="7384603" y="1382819"/>
                  <a:pt x="7377571" y="1400128"/>
                </a:cubicBezTo>
                <a:cubicBezTo>
                  <a:pt x="7356236" y="1403926"/>
                  <a:pt x="7322509" y="1393138"/>
                  <a:pt x="7311261" y="1412652"/>
                </a:cubicBezTo>
                <a:cubicBezTo>
                  <a:pt x="7305349" y="1400071"/>
                  <a:pt x="7289966" y="1428039"/>
                  <a:pt x="7275307" y="1422171"/>
                </a:cubicBezTo>
                <a:cubicBezTo>
                  <a:pt x="7264529" y="1416601"/>
                  <a:pt x="7257348" y="1423786"/>
                  <a:pt x="7247783" y="1426330"/>
                </a:cubicBezTo>
                <a:cubicBezTo>
                  <a:pt x="7233839" y="1423056"/>
                  <a:pt x="7194363" y="1442037"/>
                  <a:pt x="7185047" y="1451812"/>
                </a:cubicBezTo>
                <a:cubicBezTo>
                  <a:pt x="7164447" y="1483396"/>
                  <a:pt x="7101577" y="1475742"/>
                  <a:pt x="7084117" y="1500281"/>
                </a:cubicBezTo>
                <a:cubicBezTo>
                  <a:pt x="7076899" y="1504821"/>
                  <a:pt x="7069494" y="1507565"/>
                  <a:pt x="7062011" y="1509183"/>
                </a:cubicBezTo>
                <a:lnTo>
                  <a:pt x="7040555" y="1511207"/>
                </a:lnTo>
                <a:lnTo>
                  <a:pt x="7033438" y="1506772"/>
                </a:lnTo>
                <a:lnTo>
                  <a:pt x="7020886" y="1510764"/>
                </a:lnTo>
                <a:lnTo>
                  <a:pt x="7017033" y="1510650"/>
                </a:lnTo>
                <a:lnTo>
                  <a:pt x="6995460" y="1511173"/>
                </a:lnTo>
                <a:cubicBezTo>
                  <a:pt x="7010208" y="1537643"/>
                  <a:pt x="6938512" y="1522467"/>
                  <a:pt x="6962144" y="1541508"/>
                </a:cubicBezTo>
                <a:cubicBezTo>
                  <a:pt x="6926351" y="1550586"/>
                  <a:pt x="6958236" y="1566326"/>
                  <a:pt x="6910674" y="1554793"/>
                </a:cubicBezTo>
                <a:cubicBezTo>
                  <a:pt x="6859225" y="1589274"/>
                  <a:pt x="6769015" y="1598548"/>
                  <a:pt x="6732152" y="1642538"/>
                </a:cubicBezTo>
                <a:cubicBezTo>
                  <a:pt x="6734901" y="1628031"/>
                  <a:pt x="6709146" y="1622413"/>
                  <a:pt x="6694106" y="1632377"/>
                </a:cubicBezTo>
                <a:cubicBezTo>
                  <a:pt x="6702628" y="1575914"/>
                  <a:pt x="6638899" y="1692862"/>
                  <a:pt x="6617223" y="1659889"/>
                </a:cubicBezTo>
                <a:cubicBezTo>
                  <a:pt x="6623246" y="1693349"/>
                  <a:pt x="6561228" y="1764690"/>
                  <a:pt x="6521138" y="1744340"/>
                </a:cubicBezTo>
                <a:cubicBezTo>
                  <a:pt x="6469831" y="1761656"/>
                  <a:pt x="6438109" y="1796731"/>
                  <a:pt x="6380677" y="1796883"/>
                </a:cubicBezTo>
                <a:cubicBezTo>
                  <a:pt x="6379865" y="1801686"/>
                  <a:pt x="6377810" y="1805986"/>
                  <a:pt x="6374897" y="1809910"/>
                </a:cubicBezTo>
                <a:lnTo>
                  <a:pt x="6364545" y="1820090"/>
                </a:lnTo>
                <a:lnTo>
                  <a:pt x="6362126" y="1819991"/>
                </a:lnTo>
                <a:cubicBezTo>
                  <a:pt x="6353055" y="1821720"/>
                  <a:pt x="6348796" y="1824537"/>
                  <a:pt x="6346673" y="1827824"/>
                </a:cubicBezTo>
                <a:lnTo>
                  <a:pt x="6345588" y="1832232"/>
                </a:lnTo>
                <a:lnTo>
                  <a:pt x="6335708" y="1838451"/>
                </a:lnTo>
                <a:lnTo>
                  <a:pt x="6318182" y="1852975"/>
                </a:lnTo>
                <a:lnTo>
                  <a:pt x="6313084" y="1853561"/>
                </a:lnTo>
                <a:lnTo>
                  <a:pt x="6283816" y="1872148"/>
                </a:lnTo>
                <a:lnTo>
                  <a:pt x="6282550" y="1871392"/>
                </a:lnTo>
                <a:cubicBezTo>
                  <a:pt x="6279041" y="1870121"/>
                  <a:pt x="6275192" y="1869982"/>
                  <a:pt x="6270527" y="1872208"/>
                </a:cubicBezTo>
                <a:cubicBezTo>
                  <a:pt x="6265029" y="1853962"/>
                  <a:pt x="6262790" y="1867903"/>
                  <a:pt x="6249518" y="1876079"/>
                </a:cubicBezTo>
                <a:cubicBezTo>
                  <a:pt x="6238019" y="1849564"/>
                  <a:pt x="6207959" y="1881750"/>
                  <a:pt x="6190386" y="1872478"/>
                </a:cubicBezTo>
                <a:cubicBezTo>
                  <a:pt x="6180893" y="1879083"/>
                  <a:pt x="6170646" y="1885584"/>
                  <a:pt x="6159777" y="1891745"/>
                </a:cubicBezTo>
                <a:lnTo>
                  <a:pt x="6153131" y="1895079"/>
                </a:lnTo>
                <a:lnTo>
                  <a:pt x="6152798" y="1894920"/>
                </a:lnTo>
                <a:cubicBezTo>
                  <a:pt x="6150925" y="1895166"/>
                  <a:pt x="6148578" y="1896082"/>
                  <a:pt x="6145388" y="1897990"/>
                </a:cubicBezTo>
                <a:lnTo>
                  <a:pt x="6141014" y="1901155"/>
                </a:lnTo>
                <a:lnTo>
                  <a:pt x="6128122" y="1907623"/>
                </a:lnTo>
                <a:lnTo>
                  <a:pt x="6122351" y="1908359"/>
                </a:lnTo>
                <a:cubicBezTo>
                  <a:pt x="6099508" y="1905910"/>
                  <a:pt x="6088334" y="1869006"/>
                  <a:pt x="6064750" y="1896394"/>
                </a:cubicBezTo>
                <a:cubicBezTo>
                  <a:pt x="6025977" y="1903785"/>
                  <a:pt x="5997095" y="1889190"/>
                  <a:pt x="5964230" y="1910038"/>
                </a:cubicBezTo>
                <a:cubicBezTo>
                  <a:pt x="5927910" y="1916874"/>
                  <a:pt x="5894873" y="1914928"/>
                  <a:pt x="5865399" y="1926966"/>
                </a:cubicBezTo>
                <a:cubicBezTo>
                  <a:pt x="5851644" y="1923038"/>
                  <a:pt x="5839380" y="1922808"/>
                  <a:pt x="5829951" y="1934755"/>
                </a:cubicBezTo>
                <a:cubicBezTo>
                  <a:pt x="5795498" y="1938369"/>
                  <a:pt x="5784532" y="1926246"/>
                  <a:pt x="5765285" y="1941322"/>
                </a:cubicBezTo>
                <a:cubicBezTo>
                  <a:pt x="5741789" y="1922874"/>
                  <a:pt x="5742385" y="1931607"/>
                  <a:pt x="5734750" y="1939793"/>
                </a:cubicBezTo>
                <a:lnTo>
                  <a:pt x="5733569" y="1940505"/>
                </a:lnTo>
                <a:lnTo>
                  <a:pt x="5730329" y="1937845"/>
                </a:lnTo>
                <a:lnTo>
                  <a:pt x="5724661" y="1937455"/>
                </a:lnTo>
                <a:lnTo>
                  <a:pt x="5710186" y="1941370"/>
                </a:lnTo>
                <a:lnTo>
                  <a:pt x="5704910" y="1943663"/>
                </a:lnTo>
                <a:cubicBezTo>
                  <a:pt x="5701213" y="1944937"/>
                  <a:pt x="5698678" y="1945391"/>
                  <a:pt x="5696836" y="1945271"/>
                </a:cubicBezTo>
                <a:lnTo>
                  <a:pt x="5696583" y="1945050"/>
                </a:lnTo>
                <a:lnTo>
                  <a:pt x="5689123" y="1947067"/>
                </a:lnTo>
                <a:cubicBezTo>
                  <a:pt x="5676655" y="1951072"/>
                  <a:pt x="5664639" y="1955533"/>
                  <a:pt x="5653291" y="1960245"/>
                </a:cubicBezTo>
                <a:cubicBezTo>
                  <a:pt x="5640346" y="1947636"/>
                  <a:pt x="5600180" y="1973739"/>
                  <a:pt x="5599385" y="1945198"/>
                </a:cubicBezTo>
                <a:cubicBezTo>
                  <a:pt x="5583913" y="1950736"/>
                  <a:pt x="5576590" y="1964134"/>
                  <a:pt x="5578300" y="1944963"/>
                </a:cubicBezTo>
                <a:cubicBezTo>
                  <a:pt x="5573104" y="1946266"/>
                  <a:pt x="5569560" y="1945382"/>
                  <a:pt x="5566758" y="1943441"/>
                </a:cubicBezTo>
                <a:lnTo>
                  <a:pt x="5565857" y="1942445"/>
                </a:lnTo>
                <a:lnTo>
                  <a:pt x="5531534" y="1955208"/>
                </a:lnTo>
                <a:lnTo>
                  <a:pt x="5526552" y="1954799"/>
                </a:lnTo>
                <a:lnTo>
                  <a:pt x="5504723" y="1965811"/>
                </a:lnTo>
                <a:lnTo>
                  <a:pt x="5493156" y="1970063"/>
                </a:lnTo>
                <a:lnTo>
                  <a:pt x="5490486" y="1974227"/>
                </a:lnTo>
                <a:cubicBezTo>
                  <a:pt x="5487271" y="1977077"/>
                  <a:pt x="5482233" y="1979045"/>
                  <a:pt x="5473107" y="1979001"/>
                </a:cubicBezTo>
                <a:lnTo>
                  <a:pt x="5470885" y="1978432"/>
                </a:lnTo>
                <a:lnTo>
                  <a:pt x="5457393" y="1986525"/>
                </a:lnTo>
                <a:cubicBezTo>
                  <a:pt x="5453194" y="1989853"/>
                  <a:pt x="5449663" y="1993721"/>
                  <a:pt x="5447102" y="1998329"/>
                </a:cubicBezTo>
                <a:cubicBezTo>
                  <a:pt x="5386283" y="2017364"/>
                  <a:pt x="5223545" y="2015483"/>
                  <a:pt x="5159151" y="2029640"/>
                </a:cubicBezTo>
                <a:cubicBezTo>
                  <a:pt x="5141359" y="2036610"/>
                  <a:pt x="5090827" y="2076822"/>
                  <a:pt x="5098838" y="2062961"/>
                </a:cubicBezTo>
                <a:cubicBezTo>
                  <a:pt x="5047883" y="2099457"/>
                  <a:pt x="4922007" y="2111466"/>
                  <a:pt x="4860988" y="2135698"/>
                </a:cubicBezTo>
                <a:cubicBezTo>
                  <a:pt x="4805413" y="2152292"/>
                  <a:pt x="4784714" y="2158665"/>
                  <a:pt x="4765388" y="2162525"/>
                </a:cubicBezTo>
                <a:cubicBezTo>
                  <a:pt x="4758560" y="2161978"/>
                  <a:pt x="4751823" y="2160531"/>
                  <a:pt x="4745033" y="2158859"/>
                </a:cubicBezTo>
                <a:lnTo>
                  <a:pt x="4741475" y="2157998"/>
                </a:lnTo>
                <a:lnTo>
                  <a:pt x="4728247" y="2159526"/>
                </a:lnTo>
                <a:lnTo>
                  <a:pt x="4723263" y="2153742"/>
                </a:lnTo>
                <a:lnTo>
                  <a:pt x="4593061" y="2171597"/>
                </a:lnTo>
                <a:lnTo>
                  <a:pt x="4405765" y="2199902"/>
                </a:lnTo>
                <a:cubicBezTo>
                  <a:pt x="4403942" y="2198353"/>
                  <a:pt x="4402457" y="2196614"/>
                  <a:pt x="4401354" y="2194745"/>
                </a:cubicBezTo>
                <a:lnTo>
                  <a:pt x="4366646" y="2198564"/>
                </a:lnTo>
                <a:lnTo>
                  <a:pt x="4354009" y="2204984"/>
                </a:lnTo>
                <a:lnTo>
                  <a:pt x="4348284" y="2205270"/>
                </a:lnTo>
                <a:lnTo>
                  <a:pt x="4333906" y="2205251"/>
                </a:lnTo>
                <a:cubicBezTo>
                  <a:pt x="4326429" y="2204713"/>
                  <a:pt x="4318024" y="2203940"/>
                  <a:pt x="4308819" y="2203822"/>
                </a:cubicBezTo>
                <a:lnTo>
                  <a:pt x="4301210" y="2204456"/>
                </a:lnTo>
                <a:lnTo>
                  <a:pt x="4283095" y="2198177"/>
                </a:lnTo>
                <a:cubicBezTo>
                  <a:pt x="4269863" y="2193337"/>
                  <a:pt x="4259612" y="2190345"/>
                  <a:pt x="4250119" y="2196342"/>
                </a:cubicBezTo>
                <a:cubicBezTo>
                  <a:pt x="4230702" y="2190559"/>
                  <a:pt x="4213171" y="2166890"/>
                  <a:pt x="4189203" y="2178994"/>
                </a:cubicBezTo>
                <a:cubicBezTo>
                  <a:pt x="4194512" y="2165594"/>
                  <a:pt x="4160734" y="2183257"/>
                  <a:pt x="4154035" y="2171950"/>
                </a:cubicBezTo>
                <a:cubicBezTo>
                  <a:pt x="4150098" y="2162547"/>
                  <a:pt x="4138934" y="2165714"/>
                  <a:pt x="4129569" y="2163850"/>
                </a:cubicBezTo>
                <a:cubicBezTo>
                  <a:pt x="4121391" y="2155090"/>
                  <a:pt x="4076089" y="2154737"/>
                  <a:pt x="4061250" y="2159236"/>
                </a:cubicBezTo>
                <a:cubicBezTo>
                  <a:pt x="4020618" y="2177811"/>
                  <a:pt x="3978175" y="2144465"/>
                  <a:pt x="3945480" y="2158279"/>
                </a:cubicBezTo>
                <a:cubicBezTo>
                  <a:pt x="3936362" y="2159139"/>
                  <a:pt x="3928502" y="2158369"/>
                  <a:pt x="3921468" y="2156588"/>
                </a:cubicBezTo>
                <a:lnTo>
                  <a:pt x="3903348" y="2149220"/>
                </a:lnTo>
                <a:lnTo>
                  <a:pt x="3901342" y="2142355"/>
                </a:lnTo>
                <a:lnTo>
                  <a:pt x="3888539" y="2140476"/>
                </a:lnTo>
                <a:lnTo>
                  <a:pt x="3885662" y="2138740"/>
                </a:lnTo>
                <a:cubicBezTo>
                  <a:pt x="3880178" y="2135398"/>
                  <a:pt x="3874645" y="2132286"/>
                  <a:pt x="3868627" y="2130023"/>
                </a:cubicBezTo>
                <a:cubicBezTo>
                  <a:pt x="3859240" y="2159198"/>
                  <a:pt x="3815892" y="2115590"/>
                  <a:pt x="3819177" y="2142111"/>
                </a:cubicBezTo>
                <a:cubicBezTo>
                  <a:pt x="3784478" y="2134756"/>
                  <a:pt x="3796708" y="2161930"/>
                  <a:pt x="3769100" y="2131731"/>
                </a:cubicBezTo>
                <a:cubicBezTo>
                  <a:pt x="3702423" y="2139704"/>
                  <a:pt x="3625642" y="2109386"/>
                  <a:pt x="3562752" y="2131785"/>
                </a:cubicBezTo>
                <a:cubicBezTo>
                  <a:pt x="3576244" y="2120400"/>
                  <a:pt x="3560801" y="2104591"/>
                  <a:pt x="3541402" y="2106821"/>
                </a:cubicBezTo>
                <a:cubicBezTo>
                  <a:pt x="3592232" y="2061584"/>
                  <a:pt x="3356194" y="2115384"/>
                  <a:pt x="3365341" y="2077638"/>
                </a:cubicBezTo>
                <a:cubicBezTo>
                  <a:pt x="3303594" y="2079161"/>
                  <a:pt x="3221644" y="2111487"/>
                  <a:pt x="3170922" y="2115957"/>
                </a:cubicBezTo>
                <a:cubicBezTo>
                  <a:pt x="3166532" y="2119769"/>
                  <a:pt x="3161579" y="2122617"/>
                  <a:pt x="3156256" y="2124773"/>
                </a:cubicBezTo>
                <a:lnTo>
                  <a:pt x="3140298" y="2129182"/>
                </a:lnTo>
                <a:lnTo>
                  <a:pt x="3138514" y="2128069"/>
                </a:lnTo>
                <a:cubicBezTo>
                  <a:pt x="3130169" y="2125710"/>
                  <a:pt x="3124679" y="2126336"/>
                  <a:pt x="3120467" y="2128281"/>
                </a:cubicBezTo>
                <a:lnTo>
                  <a:pt x="3116175" y="2131633"/>
                </a:lnTo>
                <a:lnTo>
                  <a:pt x="3103685" y="2132814"/>
                </a:lnTo>
                <a:lnTo>
                  <a:pt x="3078794" y="2137935"/>
                </a:lnTo>
                <a:lnTo>
                  <a:pt x="3074407" y="2136274"/>
                </a:lnTo>
                <a:lnTo>
                  <a:pt x="3037285" y="2139919"/>
                </a:lnTo>
                <a:lnTo>
                  <a:pt x="3036901" y="2138726"/>
                </a:lnTo>
                <a:cubicBezTo>
                  <a:pt x="3035193" y="2136135"/>
                  <a:pt x="3032337" y="2134379"/>
                  <a:pt x="3026996" y="2134322"/>
                </a:cubicBezTo>
                <a:cubicBezTo>
                  <a:pt x="3037063" y="2116196"/>
                  <a:pt x="3024412" y="2127308"/>
                  <a:pt x="3007772" y="2128742"/>
                </a:cubicBezTo>
                <a:cubicBezTo>
                  <a:pt x="3019697" y="2100910"/>
                  <a:pt x="2971305" y="2115987"/>
                  <a:pt x="2965030" y="2100494"/>
                </a:cubicBezTo>
                <a:cubicBezTo>
                  <a:pt x="2952539" y="2102174"/>
                  <a:pt x="2939545" y="2103445"/>
                  <a:pt x="2926342" y="2104155"/>
                </a:cubicBezTo>
                <a:lnTo>
                  <a:pt x="2918608" y="2104215"/>
                </a:lnTo>
                <a:cubicBezTo>
                  <a:pt x="2918564" y="2104122"/>
                  <a:pt x="2918519" y="2104030"/>
                  <a:pt x="2918475" y="2103937"/>
                </a:cubicBezTo>
                <a:cubicBezTo>
                  <a:pt x="2916840" y="2103354"/>
                  <a:pt x="2914314" y="2103149"/>
                  <a:pt x="2910360" y="2103444"/>
                </a:cubicBezTo>
                <a:lnTo>
                  <a:pt x="2904507" y="2104326"/>
                </a:lnTo>
                <a:lnTo>
                  <a:pt x="2889503" y="2104443"/>
                </a:lnTo>
                <a:lnTo>
                  <a:pt x="2884480" y="2102626"/>
                </a:lnTo>
                <a:lnTo>
                  <a:pt x="2882689" y="2099228"/>
                </a:lnTo>
                <a:lnTo>
                  <a:pt x="2881291" y="2099618"/>
                </a:lnTo>
                <a:cubicBezTo>
                  <a:pt x="2870663" y="2105606"/>
                  <a:pt x="2867338" y="2114210"/>
                  <a:pt x="2853979" y="2090388"/>
                </a:cubicBezTo>
                <a:cubicBezTo>
                  <a:pt x="2829652" y="2100099"/>
                  <a:pt x="2824975" y="2085577"/>
                  <a:pt x="2791790" y="2080332"/>
                </a:cubicBezTo>
                <a:cubicBezTo>
                  <a:pt x="2777850" y="2089504"/>
                  <a:pt x="2766709" y="2086170"/>
                  <a:pt x="2755844" y="2078874"/>
                </a:cubicBezTo>
                <a:cubicBezTo>
                  <a:pt x="2723488" y="2083049"/>
                  <a:pt x="2694065" y="2072780"/>
                  <a:pt x="2657742" y="2070179"/>
                </a:cubicBezTo>
                <a:cubicBezTo>
                  <a:pt x="2618372" y="2082020"/>
                  <a:pt x="2598368" y="2060559"/>
                  <a:pt x="2559549" y="2057873"/>
                </a:cubicBezTo>
                <a:cubicBezTo>
                  <a:pt x="2525789" y="2078403"/>
                  <a:pt x="2531908" y="2039838"/>
                  <a:pt x="2512054" y="2031671"/>
                </a:cubicBezTo>
                <a:lnTo>
                  <a:pt x="2506437" y="2030918"/>
                </a:lnTo>
                <a:lnTo>
                  <a:pt x="2491752" y="2033906"/>
                </a:lnTo>
                <a:lnTo>
                  <a:pt x="2486338" y="2035862"/>
                </a:lnTo>
                <a:cubicBezTo>
                  <a:pt x="2482568" y="2036899"/>
                  <a:pt x="2480011" y="2037191"/>
                  <a:pt x="2478186" y="2036953"/>
                </a:cubicBezTo>
                <a:lnTo>
                  <a:pt x="2477950" y="2036715"/>
                </a:lnTo>
                <a:lnTo>
                  <a:pt x="2470381" y="2038256"/>
                </a:lnTo>
                <a:cubicBezTo>
                  <a:pt x="2457686" y="2041461"/>
                  <a:pt x="2445410" y="2045155"/>
                  <a:pt x="2433781" y="2049140"/>
                </a:cubicBezTo>
                <a:cubicBezTo>
                  <a:pt x="2421781" y="2035703"/>
                  <a:pt x="2379959" y="2059234"/>
                  <a:pt x="2381172" y="2030645"/>
                </a:cubicBezTo>
                <a:cubicBezTo>
                  <a:pt x="2365380" y="2035192"/>
                  <a:pt x="2357148" y="2048120"/>
                  <a:pt x="2360198" y="2029059"/>
                </a:cubicBezTo>
                <a:cubicBezTo>
                  <a:pt x="2354933" y="2030031"/>
                  <a:pt x="2351467" y="2028919"/>
                  <a:pt x="2348815" y="2026798"/>
                </a:cubicBezTo>
                <a:lnTo>
                  <a:pt x="2347988" y="2025745"/>
                </a:lnTo>
                <a:lnTo>
                  <a:pt x="2312920" y="2036311"/>
                </a:lnTo>
                <a:lnTo>
                  <a:pt x="2307986" y="2035583"/>
                </a:lnTo>
                <a:lnTo>
                  <a:pt x="2285481" y="2045197"/>
                </a:lnTo>
                <a:lnTo>
                  <a:pt x="2273666" y="2048710"/>
                </a:lnTo>
                <a:lnTo>
                  <a:pt x="2270719" y="2052702"/>
                </a:lnTo>
                <a:cubicBezTo>
                  <a:pt x="2267315" y="2055347"/>
                  <a:pt x="2262161" y="2056992"/>
                  <a:pt x="2253080" y="2056363"/>
                </a:cubicBezTo>
                <a:lnTo>
                  <a:pt x="2250906" y="2055654"/>
                </a:lnTo>
                <a:lnTo>
                  <a:pt x="2236905" y="2062882"/>
                </a:lnTo>
                <a:cubicBezTo>
                  <a:pt x="2232493" y="2065942"/>
                  <a:pt x="2228705" y="2069583"/>
                  <a:pt x="2225830" y="2074027"/>
                </a:cubicBezTo>
                <a:cubicBezTo>
                  <a:pt x="2173117" y="2059597"/>
                  <a:pt x="2128486" y="2085502"/>
                  <a:pt x="2073776" y="2089244"/>
                </a:cubicBezTo>
                <a:cubicBezTo>
                  <a:pt x="2046050" y="2059365"/>
                  <a:pt x="1957570" y="2112693"/>
                  <a:pt x="1948256" y="2146616"/>
                </a:cubicBezTo>
                <a:cubicBezTo>
                  <a:pt x="1943005" y="2109192"/>
                  <a:pt x="1832736" y="2206239"/>
                  <a:pt x="1865582" y="2153738"/>
                </a:cubicBezTo>
                <a:cubicBezTo>
                  <a:pt x="1847376" y="2159567"/>
                  <a:pt x="1826258" y="2147592"/>
                  <a:pt x="1835210" y="2134244"/>
                </a:cubicBezTo>
                <a:cubicBezTo>
                  <a:pt x="1781916" y="2167476"/>
                  <a:pt x="1695112" y="2153556"/>
                  <a:pt x="1632661" y="2173882"/>
                </a:cubicBezTo>
                <a:cubicBezTo>
                  <a:pt x="1594177" y="2150642"/>
                  <a:pt x="1616426" y="2173975"/>
                  <a:pt x="1579590" y="2173680"/>
                </a:cubicBezTo>
                <a:cubicBezTo>
                  <a:pt x="1592812" y="2198112"/>
                  <a:pt x="1533818" y="2165220"/>
                  <a:pt x="1535601" y="2194590"/>
                </a:cubicBezTo>
                <a:cubicBezTo>
                  <a:pt x="1528840" y="2193608"/>
                  <a:pt x="1522236" y="2191728"/>
                  <a:pt x="1515594" y="2189622"/>
                </a:cubicBezTo>
                <a:lnTo>
                  <a:pt x="1512113" y="2188534"/>
                </a:lnTo>
                <a:lnTo>
                  <a:pt x="1498838" y="2189213"/>
                </a:lnTo>
                <a:lnTo>
                  <a:pt x="1494279" y="2183112"/>
                </a:lnTo>
                <a:lnTo>
                  <a:pt x="1473714" y="2179625"/>
                </a:lnTo>
                <a:cubicBezTo>
                  <a:pt x="1466138" y="2179292"/>
                  <a:pt x="1458132" y="2180071"/>
                  <a:pt x="1449503" y="2182633"/>
                </a:cubicBezTo>
                <a:lnTo>
                  <a:pt x="1266687" y="2212688"/>
                </a:lnTo>
                <a:cubicBezTo>
                  <a:pt x="1256792" y="2212722"/>
                  <a:pt x="1247024" y="2217857"/>
                  <a:pt x="1239614" y="2209727"/>
                </a:cubicBezTo>
                <a:cubicBezTo>
                  <a:pt x="1228778" y="2200326"/>
                  <a:pt x="1202276" y="2223497"/>
                  <a:pt x="1202436" y="2209817"/>
                </a:cubicBezTo>
                <a:cubicBezTo>
                  <a:pt x="1183471" y="2225854"/>
                  <a:pt x="1157340" y="2206849"/>
                  <a:pt x="1136097" y="2205112"/>
                </a:cubicBezTo>
                <a:cubicBezTo>
                  <a:pt x="1100396" y="2209415"/>
                  <a:pt x="1013922" y="2231219"/>
                  <a:pt x="988232" y="2235635"/>
                </a:cubicBezTo>
                <a:cubicBezTo>
                  <a:pt x="986445" y="2234079"/>
                  <a:pt x="984332" y="2232722"/>
                  <a:pt x="981959" y="2231607"/>
                </a:cubicBezTo>
                <a:cubicBezTo>
                  <a:pt x="968170" y="2225130"/>
                  <a:pt x="948759" y="2228043"/>
                  <a:pt x="938600" y="2238113"/>
                </a:cubicBezTo>
                <a:cubicBezTo>
                  <a:pt x="888371" y="2272824"/>
                  <a:pt x="837950" y="2280135"/>
                  <a:pt x="791788" y="2293224"/>
                </a:cubicBezTo>
                <a:cubicBezTo>
                  <a:pt x="739035" y="2305159"/>
                  <a:pt x="769009" y="2269676"/>
                  <a:pt x="706914" y="2305046"/>
                </a:cubicBezTo>
                <a:cubicBezTo>
                  <a:pt x="697882" y="2295919"/>
                  <a:pt x="689339" y="2296797"/>
                  <a:pt x="675971" y="2304030"/>
                </a:cubicBezTo>
                <a:cubicBezTo>
                  <a:pt x="650201" y="2309060"/>
                  <a:pt x="647591" y="2282853"/>
                  <a:pt x="624180" y="2302650"/>
                </a:cubicBezTo>
                <a:cubicBezTo>
                  <a:pt x="626400" y="2287987"/>
                  <a:pt x="574045" y="2305175"/>
                  <a:pt x="583453" y="2288788"/>
                </a:cubicBezTo>
                <a:cubicBezTo>
                  <a:pt x="564313" y="2278832"/>
                  <a:pt x="559671" y="2301039"/>
                  <a:pt x="540946" y="2292721"/>
                </a:cubicBezTo>
                <a:cubicBezTo>
                  <a:pt x="521576" y="2293191"/>
                  <a:pt x="554439" y="2305843"/>
                  <a:pt x="533680" y="2310233"/>
                </a:cubicBezTo>
                <a:cubicBezTo>
                  <a:pt x="508069" y="2313043"/>
                  <a:pt x="512638" y="2338541"/>
                  <a:pt x="487366" y="2309053"/>
                </a:cubicBezTo>
                <a:cubicBezTo>
                  <a:pt x="462164" y="2321083"/>
                  <a:pt x="454441" y="2307251"/>
                  <a:pt x="416820" y="2305443"/>
                </a:cubicBezTo>
                <a:cubicBezTo>
                  <a:pt x="403012" y="2315890"/>
                  <a:pt x="390105" y="2313733"/>
                  <a:pt x="376805" y="2307647"/>
                </a:cubicBezTo>
                <a:cubicBezTo>
                  <a:pt x="341751" y="2315035"/>
                  <a:pt x="307408" y="2307897"/>
                  <a:pt x="266777" y="2309012"/>
                </a:cubicBezTo>
                <a:cubicBezTo>
                  <a:pt x="225310" y="2324664"/>
                  <a:pt x="199419" y="2305548"/>
                  <a:pt x="156013" y="2306832"/>
                </a:cubicBezTo>
                <a:cubicBezTo>
                  <a:pt x="117457" y="2333851"/>
                  <a:pt x="122965" y="2279562"/>
                  <a:pt x="87258" y="2285511"/>
                </a:cubicBezTo>
                <a:cubicBezTo>
                  <a:pt x="38977" y="2309189"/>
                  <a:pt x="74043" y="2277969"/>
                  <a:pt x="23798" y="2281822"/>
                </a:cubicBezTo>
                <a:lnTo>
                  <a:pt x="0" y="2285369"/>
                </a:lnTo>
                <a:lnTo>
                  <a:pt x="0"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2"/>
              </a:solidFill>
            </a:endParaRPr>
          </a:p>
        </p:txBody>
      </p:sp>
      <p:sp>
        <p:nvSpPr>
          <p:cNvPr id="2" name="Title 1">
            <a:extLst>
              <a:ext uri="{FF2B5EF4-FFF2-40B4-BE49-F238E27FC236}">
                <a16:creationId xmlns:a16="http://schemas.microsoft.com/office/drawing/2014/main" id="{256AD62D-540C-F2F8-D9D2-15ED5609FABE}"/>
              </a:ext>
            </a:extLst>
          </p:cNvPr>
          <p:cNvSpPr>
            <a:spLocks noGrp="1"/>
          </p:cNvSpPr>
          <p:nvPr>
            <p:ph type="title"/>
          </p:nvPr>
        </p:nvSpPr>
        <p:spPr>
          <a:xfrm>
            <a:off x="497973" y="393380"/>
            <a:ext cx="7655427" cy="739881"/>
          </a:xfrm>
        </p:spPr>
        <p:txBody>
          <a:bodyPr vert="horz" lIns="91440" tIns="45720" rIns="91440" bIns="45720" rtlCol="0" anchor="b">
            <a:normAutofit/>
          </a:bodyPr>
          <a:lstStyle/>
          <a:p>
            <a:r>
              <a:rPr lang="en-US" sz="3600"/>
              <a:t>EDA and Data Cleaning</a:t>
            </a:r>
          </a:p>
        </p:txBody>
      </p:sp>
      <p:pic>
        <p:nvPicPr>
          <p:cNvPr id="8" name="Content Placeholder 7" descr="A screenshot of a computer screen&#10;&#10;Description automatically generated">
            <a:extLst>
              <a:ext uri="{FF2B5EF4-FFF2-40B4-BE49-F238E27FC236}">
                <a16:creationId xmlns:a16="http://schemas.microsoft.com/office/drawing/2014/main" id="{BAF366E6-E3F3-B22C-6DBF-A7FFD8B417F3}"/>
              </a:ext>
            </a:extLst>
          </p:cNvPr>
          <p:cNvPicPr>
            <a:picLocks noGrp="1" noChangeAspect="1"/>
          </p:cNvPicPr>
          <p:nvPr>
            <p:ph idx="1"/>
          </p:nvPr>
        </p:nvPicPr>
        <p:blipFill>
          <a:blip r:embed="rId3"/>
          <a:stretch>
            <a:fillRect/>
          </a:stretch>
        </p:blipFill>
        <p:spPr>
          <a:xfrm>
            <a:off x="672707" y="1872571"/>
            <a:ext cx="5114129" cy="4398410"/>
          </a:xfrm>
          <a:prstGeom prst="rect">
            <a:avLst/>
          </a:prstGeom>
        </p:spPr>
      </p:pic>
      <p:pic>
        <p:nvPicPr>
          <p:cNvPr id="3" name="Picture 2" descr="A blue and white rectangles&#10;&#10;Description automatically generated">
            <a:extLst>
              <a:ext uri="{FF2B5EF4-FFF2-40B4-BE49-F238E27FC236}">
                <a16:creationId xmlns:a16="http://schemas.microsoft.com/office/drawing/2014/main" id="{23F590AA-1BDB-DCEA-D431-432A739DD8F6}"/>
              </a:ext>
            </a:extLst>
          </p:cNvPr>
          <p:cNvPicPr>
            <a:picLocks noChangeAspect="1"/>
          </p:cNvPicPr>
          <p:nvPr/>
        </p:nvPicPr>
        <p:blipFill>
          <a:blip r:embed="rId4"/>
          <a:stretch>
            <a:fillRect/>
          </a:stretch>
        </p:blipFill>
        <p:spPr>
          <a:xfrm>
            <a:off x="6204156" y="2418038"/>
            <a:ext cx="4483510" cy="3204154"/>
          </a:xfrm>
          <a:prstGeom prst="rect">
            <a:avLst/>
          </a:prstGeom>
        </p:spPr>
      </p:pic>
      <p:sp>
        <p:nvSpPr>
          <p:cNvPr id="37" name="Freeform: Shape 36">
            <a:extLst>
              <a:ext uri="{FF2B5EF4-FFF2-40B4-BE49-F238E27FC236}">
                <a16:creationId xmlns:a16="http://schemas.microsoft.com/office/drawing/2014/main" id="{CFDF195F-784B-4D00-8C92-6FC1B0499E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07088" y="6277971"/>
            <a:ext cx="6884912" cy="580030"/>
          </a:xfrm>
          <a:custGeom>
            <a:avLst/>
            <a:gdLst>
              <a:gd name="connsiteX0" fmla="*/ 6884912 w 6884912"/>
              <a:gd name="connsiteY0" fmla="*/ 0 h 1161397"/>
              <a:gd name="connsiteX1" fmla="*/ 6884912 w 6884912"/>
              <a:gd name="connsiteY1" fmla="*/ 1161397 h 1161397"/>
              <a:gd name="connsiteX2" fmla="*/ 0 w 6884912"/>
              <a:gd name="connsiteY2" fmla="*/ 1161397 h 1161397"/>
              <a:gd name="connsiteX3" fmla="*/ 27135 w 6884912"/>
              <a:gd name="connsiteY3" fmla="*/ 1147460 h 1161397"/>
              <a:gd name="connsiteX4" fmla="*/ 115388 w 6884912"/>
              <a:gd name="connsiteY4" fmla="*/ 1159043 h 1161397"/>
              <a:gd name="connsiteX5" fmla="*/ 119094 w 6884912"/>
              <a:gd name="connsiteY5" fmla="*/ 1148463 h 1161397"/>
              <a:gd name="connsiteX6" fmla="*/ 171824 w 6884912"/>
              <a:gd name="connsiteY6" fmla="*/ 1133224 h 1161397"/>
              <a:gd name="connsiteX7" fmla="*/ 376455 w 6884912"/>
              <a:gd name="connsiteY7" fmla="*/ 1137381 h 1161397"/>
              <a:gd name="connsiteX8" fmla="*/ 478946 w 6884912"/>
              <a:gd name="connsiteY8" fmla="*/ 1106011 h 1161397"/>
              <a:gd name="connsiteX9" fmla="*/ 512111 w 6884912"/>
              <a:gd name="connsiteY9" fmla="*/ 1085599 h 1161397"/>
              <a:gd name="connsiteX10" fmla="*/ 567875 w 6884912"/>
              <a:gd name="connsiteY10" fmla="*/ 1051976 h 1161397"/>
              <a:gd name="connsiteX11" fmla="*/ 601644 w 6884912"/>
              <a:gd name="connsiteY11" fmla="*/ 1003997 h 1161397"/>
              <a:gd name="connsiteX12" fmla="*/ 651408 w 6884912"/>
              <a:gd name="connsiteY12" fmla="*/ 984938 h 1161397"/>
              <a:gd name="connsiteX13" fmla="*/ 673197 w 6884912"/>
              <a:gd name="connsiteY13" fmla="*/ 1010060 h 1161397"/>
              <a:gd name="connsiteX14" fmla="*/ 723108 w 6884912"/>
              <a:gd name="connsiteY14" fmla="*/ 980081 h 1161397"/>
              <a:gd name="connsiteX15" fmla="*/ 797699 w 6884912"/>
              <a:gd name="connsiteY15" fmla="*/ 931362 h 1161397"/>
              <a:gd name="connsiteX16" fmla="*/ 843359 w 6884912"/>
              <a:gd name="connsiteY16" fmla="*/ 910894 h 1161397"/>
              <a:gd name="connsiteX17" fmla="*/ 965215 w 6884912"/>
              <a:gd name="connsiteY17" fmla="*/ 846701 h 1161397"/>
              <a:gd name="connsiteX18" fmla="*/ 1085080 w 6884912"/>
              <a:gd name="connsiteY18" fmla="*/ 776086 h 1161397"/>
              <a:gd name="connsiteX19" fmla="*/ 1131224 w 6884912"/>
              <a:gd name="connsiteY19" fmla="*/ 706160 h 1161397"/>
              <a:gd name="connsiteX20" fmla="*/ 1138051 w 6884912"/>
              <a:gd name="connsiteY20" fmla="*/ 702034 h 1161397"/>
              <a:gd name="connsiteX21" fmla="*/ 1158800 w 6884912"/>
              <a:gd name="connsiteY21" fmla="*/ 700004 h 1161397"/>
              <a:gd name="connsiteX22" fmla="*/ 1166947 w 6884912"/>
              <a:gd name="connsiteY22" fmla="*/ 700762 h 1161397"/>
              <a:gd name="connsiteX23" fmla="*/ 1178135 w 6884912"/>
              <a:gd name="connsiteY23" fmla="*/ 698631 h 1161397"/>
              <a:gd name="connsiteX24" fmla="*/ 1178301 w 6884912"/>
              <a:gd name="connsiteY24" fmla="*/ 698094 h 1161397"/>
              <a:gd name="connsiteX25" fmla="*/ 1188995 w 6884912"/>
              <a:gd name="connsiteY25" fmla="*/ 697048 h 1161397"/>
              <a:gd name="connsiteX26" fmla="*/ 1242716 w 6884912"/>
              <a:gd name="connsiteY26" fmla="*/ 698052 h 1161397"/>
              <a:gd name="connsiteX27" fmla="*/ 1299977 w 6884912"/>
              <a:gd name="connsiteY27" fmla="*/ 639196 h 1161397"/>
              <a:gd name="connsiteX28" fmla="*/ 1326190 w 6884912"/>
              <a:gd name="connsiteY28" fmla="*/ 625955 h 1161397"/>
              <a:gd name="connsiteX29" fmla="*/ 1339600 w 6884912"/>
              <a:gd name="connsiteY29" fmla="*/ 616295 h 1161397"/>
              <a:gd name="connsiteX30" fmla="*/ 1340054 w 6884912"/>
              <a:gd name="connsiteY30" fmla="*/ 614022 h 1161397"/>
              <a:gd name="connsiteX31" fmla="*/ 1391606 w 6884912"/>
              <a:gd name="connsiteY31" fmla="*/ 615229 h 1161397"/>
              <a:gd name="connsiteX32" fmla="*/ 1397565 w 6884912"/>
              <a:gd name="connsiteY32" fmla="*/ 611490 h 1161397"/>
              <a:gd name="connsiteX33" fmla="*/ 1432302 w 6884912"/>
              <a:gd name="connsiteY33" fmla="*/ 617267 h 1161397"/>
              <a:gd name="connsiteX34" fmla="*/ 1449644 w 6884912"/>
              <a:gd name="connsiteY34" fmla="*/ 617591 h 1161397"/>
              <a:gd name="connsiteX35" fmla="*/ 1455793 w 6884912"/>
              <a:gd name="connsiteY35" fmla="*/ 623174 h 1161397"/>
              <a:gd name="connsiteX36" fmla="*/ 1480758 w 6884912"/>
              <a:gd name="connsiteY36" fmla="*/ 620863 h 1161397"/>
              <a:gd name="connsiteX37" fmla="*/ 1483154 w 6884912"/>
              <a:gd name="connsiteY37" fmla="*/ 618527 h 1161397"/>
              <a:gd name="connsiteX38" fmla="*/ 1505495 w 6884912"/>
              <a:gd name="connsiteY38" fmla="*/ 624325 h 1161397"/>
              <a:gd name="connsiteX39" fmla="*/ 1526340 w 6884912"/>
              <a:gd name="connsiteY39" fmla="*/ 638496 h 1161397"/>
              <a:gd name="connsiteX40" fmla="*/ 1731986 w 6884912"/>
              <a:gd name="connsiteY40" fmla="*/ 589682 h 1161397"/>
              <a:gd name="connsiteX41" fmla="*/ 1927935 w 6884912"/>
              <a:gd name="connsiteY41" fmla="*/ 628540 h 1161397"/>
              <a:gd name="connsiteX42" fmla="*/ 2039075 w 6884912"/>
              <a:gd name="connsiteY42" fmla="*/ 599964 h 1161397"/>
              <a:gd name="connsiteX43" fmla="*/ 2066980 w 6884912"/>
              <a:gd name="connsiteY43" fmla="*/ 550413 h 1161397"/>
              <a:gd name="connsiteX44" fmla="*/ 2352236 w 6884912"/>
              <a:gd name="connsiteY44" fmla="*/ 519602 h 1161397"/>
              <a:gd name="connsiteX45" fmla="*/ 2420791 w 6884912"/>
              <a:gd name="connsiteY45" fmla="*/ 492826 h 1161397"/>
              <a:gd name="connsiteX46" fmla="*/ 2489932 w 6884912"/>
              <a:gd name="connsiteY46" fmla="*/ 507864 h 1161397"/>
              <a:gd name="connsiteX47" fmla="*/ 2512917 w 6884912"/>
              <a:gd name="connsiteY47" fmla="*/ 489127 h 1161397"/>
              <a:gd name="connsiteX48" fmla="*/ 2516783 w 6884912"/>
              <a:gd name="connsiteY48" fmla="*/ 485473 h 1161397"/>
              <a:gd name="connsiteX49" fmla="*/ 2534360 w 6884912"/>
              <a:gd name="connsiteY49" fmla="*/ 480064 h 1161397"/>
              <a:gd name="connsiteX50" fmla="*/ 2536691 w 6884912"/>
              <a:gd name="connsiteY50" fmla="*/ 467018 h 1161397"/>
              <a:gd name="connsiteX51" fmla="*/ 2561265 w 6884912"/>
              <a:gd name="connsiteY51" fmla="*/ 450623 h 1161397"/>
              <a:gd name="connsiteX52" fmla="*/ 2594349 w 6884912"/>
              <a:gd name="connsiteY52" fmla="*/ 443884 h 1161397"/>
              <a:gd name="connsiteX53" fmla="*/ 2754324 w 6884912"/>
              <a:gd name="connsiteY53" fmla="*/ 424766 h 1161397"/>
              <a:gd name="connsiteX54" fmla="*/ 2848470 w 6884912"/>
              <a:gd name="connsiteY54" fmla="*/ 405966 h 1161397"/>
              <a:gd name="connsiteX55" fmla="*/ 2881772 w 6884912"/>
              <a:gd name="connsiteY55" fmla="*/ 387260 h 1161397"/>
              <a:gd name="connsiteX56" fmla="*/ 2929932 w 6884912"/>
              <a:gd name="connsiteY56" fmla="*/ 368912 h 1161397"/>
              <a:gd name="connsiteX57" fmla="*/ 3013020 w 6884912"/>
              <a:gd name="connsiteY57" fmla="*/ 327578 h 1161397"/>
              <a:gd name="connsiteX58" fmla="*/ 3127968 w 6884912"/>
              <a:gd name="connsiteY58" fmla="*/ 287613 h 1161397"/>
              <a:gd name="connsiteX59" fmla="*/ 3222191 w 6884912"/>
              <a:gd name="connsiteY59" fmla="*/ 307887 h 1161397"/>
              <a:gd name="connsiteX60" fmla="*/ 3227953 w 6884912"/>
              <a:gd name="connsiteY60" fmla="*/ 297650 h 1161397"/>
              <a:gd name="connsiteX61" fmla="*/ 3287859 w 6884912"/>
              <a:gd name="connsiteY61" fmla="*/ 287558 h 1161397"/>
              <a:gd name="connsiteX62" fmla="*/ 3510042 w 6884912"/>
              <a:gd name="connsiteY62" fmla="*/ 311820 h 1161397"/>
              <a:gd name="connsiteX63" fmla="*/ 3626773 w 6884912"/>
              <a:gd name="connsiteY63" fmla="*/ 290452 h 1161397"/>
              <a:gd name="connsiteX64" fmla="*/ 3666217 w 6884912"/>
              <a:gd name="connsiteY64" fmla="*/ 273255 h 1161397"/>
              <a:gd name="connsiteX65" fmla="*/ 3732427 w 6884912"/>
              <a:gd name="connsiteY65" fmla="*/ 245039 h 1161397"/>
              <a:gd name="connsiteX66" fmla="*/ 3777022 w 6884912"/>
              <a:gd name="connsiteY66" fmla="*/ 200276 h 1161397"/>
              <a:gd name="connsiteX67" fmla="*/ 3791246 w 6884912"/>
              <a:gd name="connsiteY67" fmla="*/ 189996 h 1161397"/>
              <a:gd name="connsiteX68" fmla="*/ 3819864 w 6884912"/>
              <a:gd name="connsiteY68" fmla="*/ 194605 h 1161397"/>
              <a:gd name="connsiteX69" fmla="*/ 3830398 w 6884912"/>
              <a:gd name="connsiteY69" fmla="*/ 188383 h 1161397"/>
              <a:gd name="connsiteX70" fmla="*/ 3834360 w 6884912"/>
              <a:gd name="connsiteY70" fmla="*/ 188992 h 1161397"/>
              <a:gd name="connsiteX71" fmla="*/ 3843715 w 6884912"/>
              <a:gd name="connsiteY71" fmla="*/ 188752 h 1161397"/>
              <a:gd name="connsiteX72" fmla="*/ 3842609 w 6884912"/>
              <a:gd name="connsiteY72" fmla="*/ 197386 h 1161397"/>
              <a:gd name="connsiteX73" fmla="*/ 3853961 w 6884912"/>
              <a:gd name="connsiteY73" fmla="*/ 213380 h 1161397"/>
              <a:gd name="connsiteX74" fmla="*/ 3907640 w 6884912"/>
              <a:gd name="connsiteY74" fmla="*/ 207568 h 1161397"/>
              <a:gd name="connsiteX75" fmla="*/ 3910449 w 6884912"/>
              <a:gd name="connsiteY75" fmla="*/ 197808 h 1161397"/>
              <a:gd name="connsiteX76" fmla="*/ 3917197 w 6884912"/>
              <a:gd name="connsiteY76" fmla="*/ 196121 h 1161397"/>
              <a:gd name="connsiteX77" fmla="*/ 3922400 w 6884912"/>
              <a:gd name="connsiteY77" fmla="*/ 205056 h 1161397"/>
              <a:gd name="connsiteX78" fmla="*/ 4013061 w 6884912"/>
              <a:gd name="connsiteY78" fmla="*/ 224874 h 1161397"/>
              <a:gd name="connsiteX79" fmla="*/ 4134285 w 6884912"/>
              <a:gd name="connsiteY79" fmla="*/ 235592 h 1161397"/>
              <a:gd name="connsiteX80" fmla="*/ 4220717 w 6884912"/>
              <a:gd name="connsiteY80" fmla="*/ 192946 h 1161397"/>
              <a:gd name="connsiteX81" fmla="*/ 4228802 w 6884912"/>
              <a:gd name="connsiteY81" fmla="*/ 201468 h 1161397"/>
              <a:gd name="connsiteX82" fmla="*/ 4289361 w 6884912"/>
              <a:gd name="connsiteY82" fmla="*/ 196642 h 1161397"/>
              <a:gd name="connsiteX83" fmla="*/ 4498913 w 6884912"/>
              <a:gd name="connsiteY83" fmla="*/ 118915 h 1161397"/>
              <a:gd name="connsiteX84" fmla="*/ 4617330 w 6884912"/>
              <a:gd name="connsiteY84" fmla="*/ 111163 h 1161397"/>
              <a:gd name="connsiteX85" fmla="*/ 4659778 w 6884912"/>
              <a:gd name="connsiteY85" fmla="*/ 118219 h 1161397"/>
              <a:gd name="connsiteX86" fmla="*/ 4730870 w 6884912"/>
              <a:gd name="connsiteY86" fmla="*/ 129432 h 1161397"/>
              <a:gd name="connsiteX87" fmla="*/ 4785037 w 6884912"/>
              <a:gd name="connsiteY87" fmla="*/ 161964 h 1161397"/>
              <a:gd name="connsiteX88" fmla="*/ 4844073 w 6884912"/>
              <a:gd name="connsiteY88" fmla="*/ 161768 h 1161397"/>
              <a:gd name="connsiteX89" fmla="*/ 4856454 w 6884912"/>
              <a:gd name="connsiteY89" fmla="*/ 130488 h 1161397"/>
              <a:gd name="connsiteX90" fmla="*/ 4920038 w 6884912"/>
              <a:gd name="connsiteY90" fmla="*/ 140418 h 1161397"/>
              <a:gd name="connsiteX91" fmla="*/ 5016639 w 6884912"/>
              <a:gd name="connsiteY91" fmla="*/ 158905 h 1161397"/>
              <a:gd name="connsiteX92" fmla="*/ 5072009 w 6884912"/>
              <a:gd name="connsiteY92" fmla="*/ 161502 h 1161397"/>
              <a:gd name="connsiteX93" fmla="*/ 5223626 w 6884912"/>
              <a:gd name="connsiteY93" fmla="*/ 177356 h 1161397"/>
              <a:gd name="connsiteX94" fmla="*/ 5375773 w 6884912"/>
              <a:gd name="connsiteY94" fmla="*/ 199913 h 1161397"/>
              <a:gd name="connsiteX95" fmla="*/ 5467502 w 6884912"/>
              <a:gd name="connsiteY95" fmla="*/ 250963 h 1161397"/>
              <a:gd name="connsiteX96" fmla="*/ 5592395 w 6884912"/>
              <a:gd name="connsiteY96" fmla="*/ 265434 h 1161397"/>
              <a:gd name="connsiteX97" fmla="*/ 5613532 w 6884912"/>
              <a:gd name="connsiteY97" fmla="*/ 273379 h 1161397"/>
              <a:gd name="connsiteX98" fmla="*/ 5642173 w 6884912"/>
              <a:gd name="connsiteY98" fmla="*/ 266904 h 1161397"/>
              <a:gd name="connsiteX99" fmla="*/ 5756910 w 6884912"/>
              <a:gd name="connsiteY99" fmla="*/ 239211 h 1161397"/>
              <a:gd name="connsiteX100" fmla="*/ 5846667 w 6884912"/>
              <a:gd name="connsiteY100" fmla="*/ 201786 h 1161397"/>
              <a:gd name="connsiteX101" fmla="*/ 5960732 w 6884912"/>
              <a:gd name="connsiteY101" fmla="*/ 220708 h 1161397"/>
              <a:gd name="connsiteX102" fmla="*/ 6029542 w 6884912"/>
              <a:gd name="connsiteY102" fmla="*/ 210339 h 1161397"/>
              <a:gd name="connsiteX103" fmla="*/ 6141123 w 6884912"/>
              <a:gd name="connsiteY103" fmla="*/ 159923 h 1161397"/>
              <a:gd name="connsiteX104" fmla="*/ 6290640 w 6884912"/>
              <a:gd name="connsiteY104" fmla="*/ 167441 h 1161397"/>
              <a:gd name="connsiteX105" fmla="*/ 6322806 w 6884912"/>
              <a:gd name="connsiteY105" fmla="*/ 213293 h 1161397"/>
              <a:gd name="connsiteX106" fmla="*/ 6364914 w 6884912"/>
              <a:gd name="connsiteY106" fmla="*/ 240140 h 1161397"/>
              <a:gd name="connsiteX107" fmla="*/ 6380420 w 6884912"/>
              <a:gd name="connsiteY107" fmla="*/ 173195 h 1161397"/>
              <a:gd name="connsiteX108" fmla="*/ 6507891 w 6884912"/>
              <a:gd name="connsiteY108" fmla="*/ 118474 h 1161397"/>
              <a:gd name="connsiteX109" fmla="*/ 6571807 w 6884912"/>
              <a:gd name="connsiteY109" fmla="*/ 98636 h 1161397"/>
              <a:gd name="connsiteX110" fmla="*/ 6671880 w 6884912"/>
              <a:gd name="connsiteY110" fmla="*/ 82931 h 1161397"/>
              <a:gd name="connsiteX111" fmla="*/ 6702266 w 6884912"/>
              <a:gd name="connsiteY111" fmla="*/ 75470 h 1161397"/>
              <a:gd name="connsiteX112" fmla="*/ 6845802 w 6884912"/>
              <a:gd name="connsiteY112" fmla="*/ 24496 h 116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6884912" h="1161397">
                <a:moveTo>
                  <a:pt x="6884912" y="0"/>
                </a:moveTo>
                <a:lnTo>
                  <a:pt x="6884912" y="1161397"/>
                </a:lnTo>
                <a:lnTo>
                  <a:pt x="0" y="1161397"/>
                </a:lnTo>
                <a:lnTo>
                  <a:pt x="27135" y="1147460"/>
                </a:lnTo>
                <a:cubicBezTo>
                  <a:pt x="57431" y="1167048"/>
                  <a:pt x="61886" y="1135904"/>
                  <a:pt x="115388" y="1159043"/>
                </a:cubicBezTo>
                <a:cubicBezTo>
                  <a:pt x="116121" y="1155340"/>
                  <a:pt x="117370" y="1151777"/>
                  <a:pt x="119094" y="1148463"/>
                </a:cubicBezTo>
                <a:cubicBezTo>
                  <a:pt x="129121" y="1129214"/>
                  <a:pt x="152727" y="1122391"/>
                  <a:pt x="171824" y="1133224"/>
                </a:cubicBezTo>
                <a:cubicBezTo>
                  <a:pt x="254344" y="1161369"/>
                  <a:pt x="315458" y="1143220"/>
                  <a:pt x="376455" y="1137381"/>
                </a:cubicBezTo>
                <a:cubicBezTo>
                  <a:pt x="443775" y="1125614"/>
                  <a:pt x="382885" y="1083927"/>
                  <a:pt x="478946" y="1106011"/>
                </a:cubicBezTo>
                <a:cubicBezTo>
                  <a:pt x="481662" y="1085172"/>
                  <a:pt x="491731" y="1081489"/>
                  <a:pt x="512111" y="1085599"/>
                </a:cubicBezTo>
                <a:cubicBezTo>
                  <a:pt x="544368" y="1078502"/>
                  <a:pt x="526559" y="1032754"/>
                  <a:pt x="567875" y="1051976"/>
                </a:cubicBezTo>
                <a:cubicBezTo>
                  <a:pt x="553871" y="1028602"/>
                  <a:pt x="624901" y="1025930"/>
                  <a:pt x="601644" y="1003997"/>
                </a:cubicBezTo>
                <a:cubicBezTo>
                  <a:pt x="614803" y="975652"/>
                  <a:pt x="637415" y="1010272"/>
                  <a:pt x="651408" y="984938"/>
                </a:cubicBezTo>
                <a:cubicBezTo>
                  <a:pt x="673042" y="974024"/>
                  <a:pt x="646948" y="1015207"/>
                  <a:pt x="673197" y="1010060"/>
                </a:cubicBezTo>
                <a:cubicBezTo>
                  <a:pt x="703527" y="999318"/>
                  <a:pt x="718626" y="1045053"/>
                  <a:pt x="723108" y="980081"/>
                </a:cubicBezTo>
                <a:cubicBezTo>
                  <a:pt x="760262" y="985126"/>
                  <a:pt x="757827" y="957145"/>
                  <a:pt x="797699" y="931362"/>
                </a:cubicBezTo>
                <a:cubicBezTo>
                  <a:pt x="821097" y="940623"/>
                  <a:pt x="833565" y="929189"/>
                  <a:pt x="843359" y="910894"/>
                </a:cubicBezTo>
                <a:cubicBezTo>
                  <a:pt x="887668" y="902160"/>
                  <a:pt x="919738" y="869376"/>
                  <a:pt x="965215" y="846701"/>
                </a:cubicBezTo>
                <a:cubicBezTo>
                  <a:pt x="1023081" y="848019"/>
                  <a:pt x="1036422" y="800154"/>
                  <a:pt x="1085080" y="776086"/>
                </a:cubicBezTo>
                <a:cubicBezTo>
                  <a:pt x="1140763" y="795544"/>
                  <a:pt x="1110309" y="730471"/>
                  <a:pt x="1131224" y="706160"/>
                </a:cubicBezTo>
                <a:lnTo>
                  <a:pt x="1138051" y="702034"/>
                </a:lnTo>
                <a:lnTo>
                  <a:pt x="1158800" y="700004"/>
                </a:lnTo>
                <a:lnTo>
                  <a:pt x="1166947" y="700762"/>
                </a:lnTo>
                <a:cubicBezTo>
                  <a:pt x="1172432" y="700717"/>
                  <a:pt x="1175913" y="699961"/>
                  <a:pt x="1178135" y="698631"/>
                </a:cubicBezTo>
                <a:lnTo>
                  <a:pt x="1178301" y="698094"/>
                </a:lnTo>
                <a:lnTo>
                  <a:pt x="1188995" y="697048"/>
                </a:lnTo>
                <a:cubicBezTo>
                  <a:pt x="1207294" y="696390"/>
                  <a:pt x="1225337" y="696802"/>
                  <a:pt x="1242716" y="698052"/>
                </a:cubicBezTo>
                <a:cubicBezTo>
                  <a:pt x="1250387" y="668345"/>
                  <a:pt x="1318259" y="689091"/>
                  <a:pt x="1299977" y="639196"/>
                </a:cubicBezTo>
                <a:cubicBezTo>
                  <a:pt x="1323072" y="639367"/>
                  <a:pt x="1341279" y="658105"/>
                  <a:pt x="1326190" y="625955"/>
                </a:cubicBezTo>
                <a:cubicBezTo>
                  <a:pt x="1333572" y="625050"/>
                  <a:pt x="1337406" y="621362"/>
                  <a:pt x="1339600" y="616295"/>
                </a:cubicBezTo>
                <a:lnTo>
                  <a:pt x="1340054" y="614022"/>
                </a:lnTo>
                <a:lnTo>
                  <a:pt x="1391606" y="615229"/>
                </a:lnTo>
                <a:lnTo>
                  <a:pt x="1397565" y="611490"/>
                </a:lnTo>
                <a:lnTo>
                  <a:pt x="1432302" y="617267"/>
                </a:lnTo>
                <a:lnTo>
                  <a:pt x="1449644" y="617591"/>
                </a:lnTo>
                <a:lnTo>
                  <a:pt x="1455793" y="623174"/>
                </a:lnTo>
                <a:cubicBezTo>
                  <a:pt x="1461744" y="626151"/>
                  <a:pt x="1469373" y="626493"/>
                  <a:pt x="1480758" y="620863"/>
                </a:cubicBezTo>
                <a:lnTo>
                  <a:pt x="1483154" y="618527"/>
                </a:lnTo>
                <a:lnTo>
                  <a:pt x="1505495" y="624325"/>
                </a:lnTo>
                <a:cubicBezTo>
                  <a:pt x="1512992" y="627532"/>
                  <a:pt x="1520025" y="632078"/>
                  <a:pt x="1526340" y="638496"/>
                </a:cubicBezTo>
                <a:cubicBezTo>
                  <a:pt x="1586113" y="586768"/>
                  <a:pt x="1659006" y="610309"/>
                  <a:pt x="1731986" y="589682"/>
                </a:cubicBezTo>
                <a:cubicBezTo>
                  <a:pt x="1750397" y="523106"/>
                  <a:pt x="1896056" y="573257"/>
                  <a:pt x="1927935" y="628540"/>
                </a:cubicBezTo>
                <a:cubicBezTo>
                  <a:pt x="1912854" y="559823"/>
                  <a:pt x="2112261" y="676347"/>
                  <a:pt x="2039075" y="599964"/>
                </a:cubicBezTo>
                <a:cubicBezTo>
                  <a:pt x="2066036" y="601198"/>
                  <a:pt x="2086366" y="569532"/>
                  <a:pt x="2066980" y="550413"/>
                </a:cubicBezTo>
                <a:cubicBezTo>
                  <a:pt x="2155364" y="582582"/>
                  <a:pt x="2259548" y="514786"/>
                  <a:pt x="2352236" y="519602"/>
                </a:cubicBezTo>
                <a:cubicBezTo>
                  <a:pt x="2388450" y="459394"/>
                  <a:pt x="2373298" y="511682"/>
                  <a:pt x="2420791" y="492826"/>
                </a:cubicBezTo>
                <a:cubicBezTo>
                  <a:pt x="2417962" y="542563"/>
                  <a:pt x="2475071" y="455098"/>
                  <a:pt x="2489932" y="507864"/>
                </a:cubicBezTo>
                <a:cubicBezTo>
                  <a:pt x="2498105" y="502761"/>
                  <a:pt x="2505553" y="496153"/>
                  <a:pt x="2512917" y="489127"/>
                </a:cubicBezTo>
                <a:lnTo>
                  <a:pt x="2516783" y="485473"/>
                </a:lnTo>
                <a:lnTo>
                  <a:pt x="2534360" y="480064"/>
                </a:lnTo>
                <a:lnTo>
                  <a:pt x="2536691" y="467018"/>
                </a:lnTo>
                <a:lnTo>
                  <a:pt x="2561265" y="450623"/>
                </a:lnTo>
                <a:cubicBezTo>
                  <a:pt x="2570872" y="446262"/>
                  <a:pt x="2581686" y="443655"/>
                  <a:pt x="2594349" y="443884"/>
                </a:cubicBezTo>
                <a:cubicBezTo>
                  <a:pt x="2640435" y="464638"/>
                  <a:pt x="2696955" y="396361"/>
                  <a:pt x="2754324" y="424766"/>
                </a:cubicBezTo>
                <a:cubicBezTo>
                  <a:pt x="2775130" y="430896"/>
                  <a:pt x="2837731" y="423458"/>
                  <a:pt x="2848470" y="405966"/>
                </a:cubicBezTo>
                <a:cubicBezTo>
                  <a:pt x="2861295" y="401100"/>
                  <a:pt x="2876936" y="405309"/>
                  <a:pt x="2881772" y="387260"/>
                </a:cubicBezTo>
                <a:cubicBezTo>
                  <a:pt x="2890299" y="365261"/>
                  <a:pt x="2938134" y="392997"/>
                  <a:pt x="2929932" y="368912"/>
                </a:cubicBezTo>
                <a:cubicBezTo>
                  <a:pt x="2963844" y="387799"/>
                  <a:pt x="2986550" y="341223"/>
                  <a:pt x="3013020" y="327578"/>
                </a:cubicBezTo>
                <a:cubicBezTo>
                  <a:pt x="3040041" y="346996"/>
                  <a:pt x="3068934" y="299222"/>
                  <a:pt x="3127968" y="287613"/>
                </a:cubicBezTo>
                <a:cubicBezTo>
                  <a:pt x="3157770" y="310215"/>
                  <a:pt x="3167695" y="279445"/>
                  <a:pt x="3222191" y="307887"/>
                </a:cubicBezTo>
                <a:cubicBezTo>
                  <a:pt x="3223593" y="304249"/>
                  <a:pt x="3225533" y="300801"/>
                  <a:pt x="3227953" y="297650"/>
                </a:cubicBezTo>
                <a:cubicBezTo>
                  <a:pt x="3242008" y="279345"/>
                  <a:pt x="3268831" y="274825"/>
                  <a:pt x="3287859" y="287558"/>
                </a:cubicBezTo>
                <a:cubicBezTo>
                  <a:pt x="3373144" y="323866"/>
                  <a:pt x="3442657" y="311681"/>
                  <a:pt x="3510042" y="311820"/>
                </a:cubicBezTo>
                <a:cubicBezTo>
                  <a:pt x="3585274" y="306641"/>
                  <a:pt x="3525753" y="258887"/>
                  <a:pt x="3626773" y="290452"/>
                </a:cubicBezTo>
                <a:cubicBezTo>
                  <a:pt x="3633124" y="269835"/>
                  <a:pt x="3644693" y="267134"/>
                  <a:pt x="3666217" y="273255"/>
                </a:cubicBezTo>
                <a:cubicBezTo>
                  <a:pt x="3702502" y="269310"/>
                  <a:pt x="3690563" y="221720"/>
                  <a:pt x="3732427" y="245039"/>
                </a:cubicBezTo>
                <a:cubicBezTo>
                  <a:pt x="3720985" y="220241"/>
                  <a:pt x="3798776" y="224539"/>
                  <a:pt x="3777022" y="200276"/>
                </a:cubicBezTo>
                <a:cubicBezTo>
                  <a:pt x="3781759" y="193499"/>
                  <a:pt x="3786499" y="190723"/>
                  <a:pt x="3791246" y="189996"/>
                </a:cubicBezTo>
                <a:cubicBezTo>
                  <a:pt x="3800740" y="188542"/>
                  <a:pt x="3810265" y="195284"/>
                  <a:pt x="3819864" y="194605"/>
                </a:cubicBezTo>
                <a:lnTo>
                  <a:pt x="3830398" y="188383"/>
                </a:lnTo>
                <a:lnTo>
                  <a:pt x="3834360" y="188992"/>
                </a:lnTo>
                <a:lnTo>
                  <a:pt x="3843715" y="188752"/>
                </a:lnTo>
                <a:lnTo>
                  <a:pt x="3842609" y="197386"/>
                </a:lnTo>
                <a:cubicBezTo>
                  <a:pt x="3840673" y="205638"/>
                  <a:pt x="3839248" y="214671"/>
                  <a:pt x="3853961" y="213380"/>
                </a:cubicBezTo>
                <a:cubicBezTo>
                  <a:pt x="3884396" y="206569"/>
                  <a:pt x="3895082" y="241941"/>
                  <a:pt x="3907640" y="207568"/>
                </a:cubicBezTo>
                <a:lnTo>
                  <a:pt x="3910449" y="197808"/>
                </a:lnTo>
                <a:lnTo>
                  <a:pt x="3917197" y="196121"/>
                </a:lnTo>
                <a:cubicBezTo>
                  <a:pt x="3920833" y="196372"/>
                  <a:pt x="3922919" y="198717"/>
                  <a:pt x="3922400" y="205056"/>
                </a:cubicBezTo>
                <a:cubicBezTo>
                  <a:pt x="3950680" y="178467"/>
                  <a:pt x="3984062" y="218098"/>
                  <a:pt x="4013061" y="224874"/>
                </a:cubicBezTo>
                <a:cubicBezTo>
                  <a:pt x="4034530" y="199451"/>
                  <a:pt x="4074202" y="238734"/>
                  <a:pt x="4134285" y="235592"/>
                </a:cubicBezTo>
                <a:cubicBezTo>
                  <a:pt x="4157674" y="206403"/>
                  <a:pt x="4174806" y="233822"/>
                  <a:pt x="4220717" y="192946"/>
                </a:cubicBezTo>
                <a:cubicBezTo>
                  <a:pt x="4222964" y="196132"/>
                  <a:pt x="4225687" y="199002"/>
                  <a:pt x="4228802" y="201468"/>
                </a:cubicBezTo>
                <a:cubicBezTo>
                  <a:pt x="4246898" y="215792"/>
                  <a:pt x="4274013" y="213632"/>
                  <a:pt x="4289361" y="196642"/>
                </a:cubicBezTo>
                <a:cubicBezTo>
                  <a:pt x="4363212" y="140627"/>
                  <a:pt x="4433598" y="135488"/>
                  <a:pt x="4498913" y="118915"/>
                </a:cubicBezTo>
                <a:cubicBezTo>
                  <a:pt x="4573135" y="105586"/>
                  <a:pt x="4527062" y="166416"/>
                  <a:pt x="4617330" y="111163"/>
                </a:cubicBezTo>
                <a:cubicBezTo>
                  <a:pt x="4628518" y="129608"/>
                  <a:pt x="4640397" y="129405"/>
                  <a:pt x="4659778" y="118219"/>
                </a:cubicBezTo>
                <a:cubicBezTo>
                  <a:pt x="4695929" y="113193"/>
                  <a:pt x="4695958" y="162259"/>
                  <a:pt x="4730870" y="129432"/>
                </a:cubicBezTo>
                <a:cubicBezTo>
                  <a:pt x="4725822" y="156271"/>
                  <a:pt x="4800214" y="133127"/>
                  <a:pt x="4785037" y="161964"/>
                </a:cubicBezTo>
                <a:cubicBezTo>
                  <a:pt x="4810025" y="183633"/>
                  <a:pt x="4819434" y="143205"/>
                  <a:pt x="4844073" y="161768"/>
                </a:cubicBezTo>
                <a:cubicBezTo>
                  <a:pt x="4870797" y="164132"/>
                  <a:pt x="4827288" y="135164"/>
                  <a:pt x="4856454" y="130488"/>
                </a:cubicBezTo>
                <a:cubicBezTo>
                  <a:pt x="4892086" y="129553"/>
                  <a:pt x="4889263" y="81477"/>
                  <a:pt x="4920038" y="140418"/>
                </a:cubicBezTo>
                <a:cubicBezTo>
                  <a:pt x="4956358" y="122308"/>
                  <a:pt x="4965108" y="149263"/>
                  <a:pt x="5016639" y="158905"/>
                </a:cubicBezTo>
                <a:cubicBezTo>
                  <a:pt x="5037063" y="141828"/>
                  <a:pt x="5054534" y="147986"/>
                  <a:pt x="5072009" y="161502"/>
                </a:cubicBezTo>
                <a:cubicBezTo>
                  <a:pt x="5121260" y="153653"/>
                  <a:pt x="5167555" y="172635"/>
                  <a:pt x="5223626" y="177356"/>
                </a:cubicBezTo>
                <a:cubicBezTo>
                  <a:pt x="5282824" y="155243"/>
                  <a:pt x="5315859" y="195041"/>
                  <a:pt x="5375773" y="199913"/>
                </a:cubicBezTo>
                <a:cubicBezTo>
                  <a:pt x="5432511" y="156218"/>
                  <a:pt x="5417550" y="256036"/>
                  <a:pt x="5467502" y="250963"/>
                </a:cubicBezTo>
                <a:cubicBezTo>
                  <a:pt x="5547124" y="209975"/>
                  <a:pt x="5467171" y="283839"/>
                  <a:pt x="5592395" y="265434"/>
                </a:cubicBezTo>
                <a:cubicBezTo>
                  <a:pt x="5599201" y="258867"/>
                  <a:pt x="5614752" y="264706"/>
                  <a:pt x="5613532" y="273379"/>
                </a:cubicBezTo>
                <a:cubicBezTo>
                  <a:pt x="5621390" y="270408"/>
                  <a:pt x="5639720" y="253173"/>
                  <a:pt x="5642173" y="266904"/>
                </a:cubicBezTo>
                <a:cubicBezTo>
                  <a:pt x="5682296" y="267049"/>
                  <a:pt x="5721812" y="257513"/>
                  <a:pt x="5756910" y="239211"/>
                </a:cubicBezTo>
                <a:cubicBezTo>
                  <a:pt x="5834998" y="260050"/>
                  <a:pt x="5790596" y="197229"/>
                  <a:pt x="5846667" y="201786"/>
                </a:cubicBezTo>
                <a:cubicBezTo>
                  <a:pt x="5892444" y="227312"/>
                  <a:pt x="5908324" y="204527"/>
                  <a:pt x="5960732" y="220708"/>
                </a:cubicBezTo>
                <a:cubicBezTo>
                  <a:pt x="5977124" y="175349"/>
                  <a:pt x="6009640" y="223654"/>
                  <a:pt x="6029542" y="210339"/>
                </a:cubicBezTo>
                <a:cubicBezTo>
                  <a:pt x="6063108" y="261420"/>
                  <a:pt x="6107411" y="160034"/>
                  <a:pt x="6141123" y="159923"/>
                </a:cubicBezTo>
                <a:cubicBezTo>
                  <a:pt x="6198068" y="167749"/>
                  <a:pt x="6260628" y="219715"/>
                  <a:pt x="6290640" y="167441"/>
                </a:cubicBezTo>
                <a:cubicBezTo>
                  <a:pt x="6295193" y="188689"/>
                  <a:pt x="6290494" y="217816"/>
                  <a:pt x="6322806" y="213293"/>
                </a:cubicBezTo>
                <a:cubicBezTo>
                  <a:pt x="6335911" y="223881"/>
                  <a:pt x="6338726" y="256581"/>
                  <a:pt x="6364914" y="240140"/>
                </a:cubicBezTo>
                <a:cubicBezTo>
                  <a:pt x="6331888" y="211628"/>
                  <a:pt x="6385856" y="207033"/>
                  <a:pt x="6380420" y="173195"/>
                </a:cubicBezTo>
                <a:cubicBezTo>
                  <a:pt x="6420580" y="151473"/>
                  <a:pt x="6513519" y="179296"/>
                  <a:pt x="6507891" y="118474"/>
                </a:cubicBezTo>
                <a:cubicBezTo>
                  <a:pt x="6519398" y="82452"/>
                  <a:pt x="6571830" y="137398"/>
                  <a:pt x="6571807" y="98636"/>
                </a:cubicBezTo>
                <a:cubicBezTo>
                  <a:pt x="6594702" y="123421"/>
                  <a:pt x="6634676" y="82071"/>
                  <a:pt x="6671880" y="82931"/>
                </a:cubicBezTo>
                <a:cubicBezTo>
                  <a:pt x="6678855" y="65407"/>
                  <a:pt x="6687415" y="66196"/>
                  <a:pt x="6702266" y="75470"/>
                </a:cubicBezTo>
                <a:cubicBezTo>
                  <a:pt x="6747004" y="78450"/>
                  <a:pt x="6798307" y="53072"/>
                  <a:pt x="6845802" y="24496"/>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9596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94CA8-E7B8-8516-BF65-7B8FD4E10FDE}"/>
              </a:ext>
            </a:extLst>
          </p:cNvPr>
          <p:cNvSpPr txBox="1">
            <a:spLocks/>
          </p:cNvSpPr>
          <p:nvPr/>
        </p:nvSpPr>
        <p:spPr bwMode="gray">
          <a:xfrm>
            <a:off x="2247459" y="1897696"/>
            <a:ext cx="7053831" cy="2314936"/>
          </a:xfrm>
          <a:prstGeom prst="rect">
            <a:avLst/>
          </a:prstGeom>
        </p:spPr>
        <p:txBody>
          <a:bodyPr vert="horz" lIns="91440" tIns="45720" rIns="91440" bIns="45720" rtlCol="0" anchor="b" anchorCtr="0">
            <a:noAutofit/>
          </a:bodyPr>
          <a:lstStyle>
            <a:lvl1pPr algn="l" defTabSz="914400" rtl="0" eaLnBrk="1" latinLnBrk="0" hangingPunct="1">
              <a:lnSpc>
                <a:spcPts val="3200"/>
              </a:lnSpc>
              <a:spcBef>
                <a:spcPct val="0"/>
              </a:spcBef>
              <a:buNone/>
              <a:defRPr sz="3200" b="0" kern="120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lnSpc>
                <a:spcPct val="100000"/>
              </a:lnSpc>
            </a:pPr>
            <a:r>
              <a:rPr lang="en-US" sz="6600">
                <a:solidFill>
                  <a:schemeClr val="tx1"/>
                </a:solidFill>
                <a:latin typeface="+mn-lt"/>
              </a:rPr>
              <a:t>Machine Learning Models Iterations</a:t>
            </a:r>
          </a:p>
        </p:txBody>
      </p:sp>
      <p:pic>
        <p:nvPicPr>
          <p:cNvPr id="5" name="Graphic 4" descr="Statistics outline">
            <a:extLst>
              <a:ext uri="{FF2B5EF4-FFF2-40B4-BE49-F238E27FC236}">
                <a16:creationId xmlns:a16="http://schemas.microsoft.com/office/drawing/2014/main" id="{D480190C-5F52-3BC9-2042-4BF2960DB1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57650" y="2687255"/>
            <a:ext cx="4562354" cy="4562354"/>
          </a:xfrm>
          <a:prstGeom prst="rect">
            <a:avLst/>
          </a:prstGeom>
        </p:spPr>
      </p:pic>
    </p:spTree>
    <p:extLst>
      <p:ext uri="{BB962C8B-B14F-4D97-AF65-F5344CB8AC3E}">
        <p14:creationId xmlns:p14="http://schemas.microsoft.com/office/powerpoint/2010/main" val="10280577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CF4E3-74D7-EE10-41A9-A1324B8A5DBD}"/>
              </a:ext>
            </a:extLst>
          </p:cNvPr>
          <p:cNvSpPr>
            <a:spLocks noGrp="1"/>
          </p:cNvSpPr>
          <p:nvPr>
            <p:ph type="title"/>
          </p:nvPr>
        </p:nvSpPr>
        <p:spPr>
          <a:xfrm>
            <a:off x="380246" y="176965"/>
            <a:ext cx="10072980" cy="830998"/>
          </a:xfrm>
        </p:spPr>
        <p:txBody>
          <a:bodyPr>
            <a:normAutofit/>
          </a:bodyPr>
          <a:lstStyle/>
          <a:p>
            <a:r>
              <a:rPr lang="en-US">
                <a:latin typeface="+mn-lt"/>
              </a:rPr>
              <a:t>Initial Modeling Approaches</a:t>
            </a:r>
          </a:p>
        </p:txBody>
      </p:sp>
      <p:cxnSp>
        <p:nvCxnSpPr>
          <p:cNvPr id="25" name="Straight Connector 24">
            <a:extLst>
              <a:ext uri="{FF2B5EF4-FFF2-40B4-BE49-F238E27FC236}">
                <a16:creationId xmlns:a16="http://schemas.microsoft.com/office/drawing/2014/main" id="{21FCBED2-0D3B-67D0-D686-54273B558F92}"/>
              </a:ext>
            </a:extLst>
          </p:cNvPr>
          <p:cNvCxnSpPr>
            <a:cxnSpLocks/>
          </p:cNvCxnSpPr>
          <p:nvPr/>
        </p:nvCxnSpPr>
        <p:spPr>
          <a:xfrm>
            <a:off x="380246" y="995881"/>
            <a:ext cx="11425473" cy="27563"/>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5" name="object 5">
            <a:extLst>
              <a:ext uri="{FF2B5EF4-FFF2-40B4-BE49-F238E27FC236}">
                <a16:creationId xmlns:a16="http://schemas.microsoft.com/office/drawing/2014/main" id="{F63E6DBE-560C-DC3B-5FA0-5A45D4DFB21E}"/>
              </a:ext>
            </a:extLst>
          </p:cNvPr>
          <p:cNvSpPr txBox="1"/>
          <p:nvPr/>
        </p:nvSpPr>
        <p:spPr>
          <a:xfrm>
            <a:off x="2416810" y="4973573"/>
            <a:ext cx="2108200" cy="1320874"/>
          </a:xfrm>
          <a:prstGeom prst="rect">
            <a:avLst/>
          </a:prstGeom>
        </p:spPr>
        <p:txBody>
          <a:bodyPr vert="horz" wrap="square" lIns="0" tIns="12700" rIns="0" bIns="0" rtlCol="0">
            <a:spAutoFit/>
          </a:bodyPr>
          <a:lstStyle/>
          <a:p>
            <a:pPr marL="598805" marR="0" lvl="0" indent="0" algn="l" defTabSz="914400" rtl="0" eaLnBrk="1" fontAlgn="auto" latinLnBrk="0" hangingPunct="1">
              <a:lnSpc>
                <a:spcPct val="100000"/>
              </a:lnSpc>
              <a:spcBef>
                <a:spcPts val="100"/>
              </a:spcBef>
              <a:spcAft>
                <a:spcPts val="0"/>
              </a:spcAft>
              <a:buClrTx/>
              <a:buSzTx/>
              <a:buFontTx/>
              <a:buNone/>
              <a:tabLst/>
              <a:defRPr/>
            </a:pPr>
            <a:r>
              <a:rPr lang="en-US" sz="2000" b="1" spc="-5">
                <a:solidFill>
                  <a:prstClr val="black"/>
                </a:solidFill>
                <a:ea typeface="Open Sans" panose="020B0606030504020204" pitchFamily="34" charset="0"/>
                <a:cs typeface="Open Sans" panose="020B0606030504020204" pitchFamily="34" charset="0"/>
              </a:rPr>
              <a:t>Dummy Classifier </a:t>
            </a:r>
            <a:endParaRPr kumimoji="0" sz="2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a:p>
            <a:pPr marL="12700" marR="5080" lvl="0" indent="0" algn="ctr" defTabSz="914400" rtl="0" eaLnBrk="1" fontAlgn="auto" latinLnBrk="0" hangingPunct="1">
              <a:lnSpc>
                <a:spcPct val="100000"/>
              </a:lnSpc>
              <a:spcBef>
                <a:spcPts val="35"/>
              </a:spcBef>
              <a:spcAft>
                <a:spcPts val="0"/>
              </a:spcAft>
              <a:buClrTx/>
              <a:buSzTx/>
              <a:buFontTx/>
              <a:buNone/>
              <a:tabLst/>
              <a:defRPr/>
            </a:pPr>
            <a:r>
              <a:rPr lang="en-US" sz="1500" spc="-5">
                <a:solidFill>
                  <a:prstClr val="black"/>
                </a:solidFill>
                <a:ea typeface="Open Sans" panose="020B0606030504020204" pitchFamily="34" charset="0"/>
                <a:cs typeface="Open Sans" panose="020B0606030504020204" pitchFamily="34" charset="0"/>
              </a:rPr>
              <a:t>Initial examination of features regarding loan approval</a:t>
            </a:r>
            <a:endParaRPr kumimoji="0" sz="15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6" name="object 6">
            <a:extLst>
              <a:ext uri="{FF2B5EF4-FFF2-40B4-BE49-F238E27FC236}">
                <a16:creationId xmlns:a16="http://schemas.microsoft.com/office/drawing/2014/main" id="{F9240CE2-CE89-7B27-89F7-E1D4D4FD63C8}"/>
              </a:ext>
            </a:extLst>
          </p:cNvPr>
          <p:cNvSpPr txBox="1"/>
          <p:nvPr/>
        </p:nvSpPr>
        <p:spPr>
          <a:xfrm>
            <a:off x="4799838" y="4973573"/>
            <a:ext cx="2281555" cy="1320874"/>
          </a:xfrm>
          <a:prstGeom prst="rect">
            <a:avLst/>
          </a:prstGeom>
        </p:spPr>
        <p:txBody>
          <a:bodyPr vert="horz" wrap="square" lIns="0" tIns="12700" rIns="0" bIns="0" rtlCol="0">
            <a:spAutoFit/>
          </a:bodyPr>
          <a:lstStyle/>
          <a:p>
            <a:pPr marL="635" marR="0" lvl="0" indent="0" algn="ctr" defTabSz="914400" rtl="0" eaLnBrk="1" fontAlgn="auto" latinLnBrk="0" hangingPunct="1">
              <a:lnSpc>
                <a:spcPct val="100000"/>
              </a:lnSpc>
              <a:spcBef>
                <a:spcPts val="100"/>
              </a:spcBef>
              <a:spcAft>
                <a:spcPts val="0"/>
              </a:spcAft>
              <a:buClrTx/>
              <a:buSzTx/>
              <a:buFontTx/>
              <a:buNone/>
              <a:tabLst/>
              <a:defRPr/>
            </a:pPr>
            <a:r>
              <a:rPr lang="en-US" sz="2000" b="1" spc="-5">
                <a:solidFill>
                  <a:prstClr val="black"/>
                </a:solidFill>
                <a:ea typeface="Open Sans" panose="020B0606030504020204" pitchFamily="34" charset="0"/>
                <a:cs typeface="Open Sans" panose="020B0606030504020204" pitchFamily="34" charset="0"/>
              </a:rPr>
              <a:t>Decision Tree Classifier </a:t>
            </a:r>
            <a:r>
              <a:rPr kumimoji="0" lang="en-US" sz="2000" b="1" i="0" u="none" strike="noStrike" kern="1200" cap="none" spc="-5" normalizeH="0" baseline="0" noProof="0">
                <a:ln>
                  <a:noFill/>
                </a:ln>
                <a:solidFill>
                  <a:prstClr val="black"/>
                </a:solidFill>
                <a:effectLst/>
                <a:uLnTx/>
                <a:uFillTx/>
                <a:ea typeface="Open Sans" panose="020B0606030504020204" pitchFamily="34" charset="0"/>
                <a:cs typeface="Open Sans" panose="020B0606030504020204" pitchFamily="34" charset="0"/>
              </a:rPr>
              <a:t> </a:t>
            </a:r>
            <a:endParaRPr kumimoji="0" sz="20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lang="en-US" sz="1500">
                <a:solidFill>
                  <a:prstClr val="black"/>
                </a:solidFill>
                <a:ea typeface="Open Sans" panose="020B0606030504020204" pitchFamily="34" charset="0"/>
                <a:cs typeface="Open Sans" panose="020B0606030504020204" pitchFamily="34" charset="0"/>
              </a:rPr>
              <a:t>P</a:t>
            </a:r>
            <a:r>
              <a:rPr kumimoji="0" lang="en-US" sz="1500" b="0" i="0" u="none" strike="noStrike" kern="1200" cap="none" spc="0" normalizeH="0" baseline="0" noProof="0" err="1">
                <a:ln>
                  <a:noFill/>
                </a:ln>
                <a:solidFill>
                  <a:prstClr val="black"/>
                </a:solidFill>
                <a:effectLst/>
                <a:uLnTx/>
                <a:uFillTx/>
                <a:ea typeface="Open Sans" panose="020B0606030504020204" pitchFamily="34" charset="0"/>
                <a:cs typeface="Open Sans" panose="020B0606030504020204" pitchFamily="34" charset="0"/>
              </a:rPr>
              <a:t>recision</a:t>
            </a:r>
            <a:r>
              <a:rPr kumimoji="0" lang="en-US" sz="15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 increases by 12% to display the best automated approval rate</a:t>
            </a:r>
            <a:endParaRPr kumimoji="0" sz="15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7" name="object 7">
            <a:extLst>
              <a:ext uri="{FF2B5EF4-FFF2-40B4-BE49-F238E27FC236}">
                <a16:creationId xmlns:a16="http://schemas.microsoft.com/office/drawing/2014/main" id="{C9262C6E-E383-D8BD-149A-B30D06430B8A}"/>
              </a:ext>
            </a:extLst>
          </p:cNvPr>
          <p:cNvSpPr txBox="1"/>
          <p:nvPr/>
        </p:nvSpPr>
        <p:spPr>
          <a:xfrm>
            <a:off x="7448168" y="4973573"/>
            <a:ext cx="2108200" cy="1256754"/>
          </a:xfrm>
          <a:prstGeom prst="rect">
            <a:avLst/>
          </a:prstGeom>
        </p:spPr>
        <p:txBody>
          <a:bodyPr vert="horz" wrap="square" lIns="0" tIns="12700" rIns="0" bIns="0" rtlCol="0">
            <a:spAutoFit/>
          </a:bodyPr>
          <a:lstStyle/>
          <a:p>
            <a:pPr marL="17145" marR="0" lvl="0" indent="0" algn="ctr" defTabSz="914400" rtl="0" eaLnBrk="1" fontAlgn="auto" latinLnBrk="0" hangingPunct="1">
              <a:lnSpc>
                <a:spcPct val="100000"/>
              </a:lnSpc>
              <a:spcBef>
                <a:spcPts val="100"/>
              </a:spcBef>
              <a:spcAft>
                <a:spcPts val="0"/>
              </a:spcAft>
              <a:buClrTx/>
              <a:buSzTx/>
              <a:buFontTx/>
              <a:buNone/>
              <a:tabLst/>
              <a:defRPr/>
            </a:pPr>
            <a:r>
              <a:rPr lang="en-US" sz="2000" b="1" spc="-10">
                <a:solidFill>
                  <a:prstClr val="black"/>
                </a:solidFill>
                <a:cs typeface="Open Sans"/>
              </a:rPr>
              <a:t>Random Classifier </a:t>
            </a:r>
          </a:p>
          <a:p>
            <a:pPr marL="17145" marR="0" lvl="0" indent="0" algn="ctr" defTabSz="914400" rtl="0" eaLnBrk="1" fontAlgn="auto" latinLnBrk="0" hangingPunct="1">
              <a:lnSpc>
                <a:spcPct val="100000"/>
              </a:lnSpc>
              <a:spcBef>
                <a:spcPts val="10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ea typeface="+mn-ea"/>
                <a:cs typeface="Open Sans"/>
              </a:rPr>
              <a:t>Precision increases by 0.8% to display and even better automated approval rate</a:t>
            </a:r>
            <a:endParaRPr kumimoji="0" sz="1500" b="0" i="0" u="none" strike="noStrike" kern="1200" cap="none" spc="0" normalizeH="0" baseline="0" noProof="0">
              <a:ln>
                <a:noFill/>
              </a:ln>
              <a:solidFill>
                <a:prstClr val="black"/>
              </a:solidFill>
              <a:effectLst/>
              <a:uLnTx/>
              <a:uFillTx/>
              <a:ea typeface="+mn-ea"/>
              <a:cs typeface="Open Sans"/>
            </a:endParaRPr>
          </a:p>
        </p:txBody>
      </p:sp>
      <p:sp>
        <p:nvSpPr>
          <p:cNvPr id="8" name="object 8">
            <a:extLst>
              <a:ext uri="{FF2B5EF4-FFF2-40B4-BE49-F238E27FC236}">
                <a16:creationId xmlns:a16="http://schemas.microsoft.com/office/drawing/2014/main" id="{E66F2DCF-1894-FC87-FF9A-29E21F5D61E4}"/>
              </a:ext>
            </a:extLst>
          </p:cNvPr>
          <p:cNvSpPr/>
          <p:nvPr/>
        </p:nvSpPr>
        <p:spPr>
          <a:xfrm>
            <a:off x="2398776"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5BA3D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a:extLst>
              <a:ext uri="{FF2B5EF4-FFF2-40B4-BE49-F238E27FC236}">
                <a16:creationId xmlns:a16="http://schemas.microsoft.com/office/drawing/2014/main" id="{70BD206D-64F5-3BCB-FF0D-1A2A9B7F6823}"/>
              </a:ext>
            </a:extLst>
          </p:cNvPr>
          <p:cNvSpPr/>
          <p:nvPr/>
        </p:nvSpPr>
        <p:spPr>
          <a:xfrm>
            <a:off x="2592323" y="2266188"/>
            <a:ext cx="1840229" cy="1838706"/>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a:extLst>
              <a:ext uri="{FF2B5EF4-FFF2-40B4-BE49-F238E27FC236}">
                <a16:creationId xmlns:a16="http://schemas.microsoft.com/office/drawing/2014/main" id="{718D2EAD-6CEC-1464-8743-AFC5BB9C7701}"/>
              </a:ext>
            </a:extLst>
          </p:cNvPr>
          <p:cNvSpPr/>
          <p:nvPr/>
        </p:nvSpPr>
        <p:spPr>
          <a:xfrm>
            <a:off x="2639567" y="2313432"/>
            <a:ext cx="1664335" cy="1663064"/>
          </a:xfrm>
          <a:custGeom>
            <a:avLst/>
            <a:gdLst/>
            <a:ahLst/>
            <a:cxnLst/>
            <a:rect l="l" t="t" r="r" b="b"/>
            <a:pathLst>
              <a:path w="1664335" h="1663064">
                <a:moveTo>
                  <a:pt x="832104"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4"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a:extLst>
              <a:ext uri="{FF2B5EF4-FFF2-40B4-BE49-F238E27FC236}">
                <a16:creationId xmlns:a16="http://schemas.microsoft.com/office/drawing/2014/main" id="{BCFBEDA9-26D3-BEC1-4063-8BFD07D18553}"/>
              </a:ext>
            </a:extLst>
          </p:cNvPr>
          <p:cNvSpPr/>
          <p:nvPr/>
        </p:nvSpPr>
        <p:spPr>
          <a:xfrm>
            <a:off x="3116579" y="4072128"/>
            <a:ext cx="710565" cy="387350"/>
          </a:xfrm>
          <a:custGeom>
            <a:avLst/>
            <a:gdLst/>
            <a:ahLst/>
            <a:cxnLst/>
            <a:rect l="l" t="t" r="r" b="b"/>
            <a:pathLst>
              <a:path w="710564" h="387350">
                <a:moveTo>
                  <a:pt x="710183" y="0"/>
                </a:moveTo>
                <a:lnTo>
                  <a:pt x="0" y="0"/>
                </a:lnTo>
                <a:lnTo>
                  <a:pt x="355092" y="387096"/>
                </a:lnTo>
                <a:lnTo>
                  <a:pt x="710183" y="0"/>
                </a:lnTo>
                <a:close/>
              </a:path>
            </a:pathLst>
          </a:custGeom>
          <a:solidFill>
            <a:srgbClr val="5BA3D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a:extLst>
              <a:ext uri="{FF2B5EF4-FFF2-40B4-BE49-F238E27FC236}">
                <a16:creationId xmlns:a16="http://schemas.microsoft.com/office/drawing/2014/main" id="{B013563A-12B1-D0CE-E463-78669AB0583A}"/>
              </a:ext>
            </a:extLst>
          </p:cNvPr>
          <p:cNvSpPr/>
          <p:nvPr/>
        </p:nvSpPr>
        <p:spPr>
          <a:xfrm>
            <a:off x="4852415" y="2072639"/>
            <a:ext cx="2146300" cy="2146300"/>
          </a:xfrm>
          <a:custGeom>
            <a:avLst/>
            <a:gdLst/>
            <a:ahLst/>
            <a:cxnLst/>
            <a:rect l="l" t="t" r="r" b="b"/>
            <a:pathLst>
              <a:path w="2146300" h="2146300">
                <a:moveTo>
                  <a:pt x="1072896" y="0"/>
                </a:moveTo>
                <a:lnTo>
                  <a:pt x="1025102" y="1045"/>
                </a:lnTo>
                <a:lnTo>
                  <a:pt x="977843" y="4152"/>
                </a:lnTo>
                <a:lnTo>
                  <a:pt x="931164" y="9276"/>
                </a:lnTo>
                <a:lnTo>
                  <a:pt x="885108" y="16375"/>
                </a:lnTo>
                <a:lnTo>
                  <a:pt x="839718" y="25405"/>
                </a:lnTo>
                <a:lnTo>
                  <a:pt x="795039" y="36322"/>
                </a:lnTo>
                <a:lnTo>
                  <a:pt x="751112" y="49082"/>
                </a:lnTo>
                <a:lnTo>
                  <a:pt x="707984" y="63643"/>
                </a:lnTo>
                <a:lnTo>
                  <a:pt x="665696" y="79959"/>
                </a:lnTo>
                <a:lnTo>
                  <a:pt x="624292" y="97989"/>
                </a:lnTo>
                <a:lnTo>
                  <a:pt x="583816" y="117687"/>
                </a:lnTo>
                <a:lnTo>
                  <a:pt x="544312" y="139011"/>
                </a:lnTo>
                <a:lnTo>
                  <a:pt x="505823" y="161917"/>
                </a:lnTo>
                <a:lnTo>
                  <a:pt x="468393" y="186361"/>
                </a:lnTo>
                <a:lnTo>
                  <a:pt x="432065" y="212301"/>
                </a:lnTo>
                <a:lnTo>
                  <a:pt x="396884" y="239691"/>
                </a:lnTo>
                <a:lnTo>
                  <a:pt x="362892" y="268489"/>
                </a:lnTo>
                <a:lnTo>
                  <a:pt x="330133" y="298650"/>
                </a:lnTo>
                <a:lnTo>
                  <a:pt x="298650" y="330133"/>
                </a:lnTo>
                <a:lnTo>
                  <a:pt x="268489" y="362892"/>
                </a:lnTo>
                <a:lnTo>
                  <a:pt x="239691" y="396884"/>
                </a:lnTo>
                <a:lnTo>
                  <a:pt x="212301" y="432065"/>
                </a:lnTo>
                <a:lnTo>
                  <a:pt x="186361" y="468393"/>
                </a:lnTo>
                <a:lnTo>
                  <a:pt x="161917" y="505823"/>
                </a:lnTo>
                <a:lnTo>
                  <a:pt x="139011" y="544312"/>
                </a:lnTo>
                <a:lnTo>
                  <a:pt x="117687" y="583816"/>
                </a:lnTo>
                <a:lnTo>
                  <a:pt x="97989" y="624292"/>
                </a:lnTo>
                <a:lnTo>
                  <a:pt x="79959" y="665696"/>
                </a:lnTo>
                <a:lnTo>
                  <a:pt x="63643" y="707984"/>
                </a:lnTo>
                <a:lnTo>
                  <a:pt x="49082" y="751112"/>
                </a:lnTo>
                <a:lnTo>
                  <a:pt x="36322" y="795039"/>
                </a:lnTo>
                <a:lnTo>
                  <a:pt x="25405" y="839718"/>
                </a:lnTo>
                <a:lnTo>
                  <a:pt x="16375" y="885108"/>
                </a:lnTo>
                <a:lnTo>
                  <a:pt x="9276" y="931164"/>
                </a:lnTo>
                <a:lnTo>
                  <a:pt x="4152" y="977843"/>
                </a:lnTo>
                <a:lnTo>
                  <a:pt x="1045" y="1025102"/>
                </a:lnTo>
                <a:lnTo>
                  <a:pt x="0" y="1072896"/>
                </a:lnTo>
                <a:lnTo>
                  <a:pt x="1045" y="1120689"/>
                </a:lnTo>
                <a:lnTo>
                  <a:pt x="4152" y="1167948"/>
                </a:lnTo>
                <a:lnTo>
                  <a:pt x="9276" y="1214627"/>
                </a:lnTo>
                <a:lnTo>
                  <a:pt x="16375" y="1260683"/>
                </a:lnTo>
                <a:lnTo>
                  <a:pt x="25405" y="1306073"/>
                </a:lnTo>
                <a:lnTo>
                  <a:pt x="36322" y="1350752"/>
                </a:lnTo>
                <a:lnTo>
                  <a:pt x="49082" y="1394679"/>
                </a:lnTo>
                <a:lnTo>
                  <a:pt x="63643" y="1437807"/>
                </a:lnTo>
                <a:lnTo>
                  <a:pt x="79959" y="1480095"/>
                </a:lnTo>
                <a:lnTo>
                  <a:pt x="97989" y="1521499"/>
                </a:lnTo>
                <a:lnTo>
                  <a:pt x="117687" y="1561975"/>
                </a:lnTo>
                <a:lnTo>
                  <a:pt x="139011" y="1601479"/>
                </a:lnTo>
                <a:lnTo>
                  <a:pt x="161917" y="1639968"/>
                </a:lnTo>
                <a:lnTo>
                  <a:pt x="186361" y="1677398"/>
                </a:lnTo>
                <a:lnTo>
                  <a:pt x="212301" y="1713726"/>
                </a:lnTo>
                <a:lnTo>
                  <a:pt x="239691" y="1748907"/>
                </a:lnTo>
                <a:lnTo>
                  <a:pt x="268489" y="1782899"/>
                </a:lnTo>
                <a:lnTo>
                  <a:pt x="298650" y="1815658"/>
                </a:lnTo>
                <a:lnTo>
                  <a:pt x="330133" y="1847141"/>
                </a:lnTo>
                <a:lnTo>
                  <a:pt x="362892" y="1877302"/>
                </a:lnTo>
                <a:lnTo>
                  <a:pt x="396884" y="1906100"/>
                </a:lnTo>
                <a:lnTo>
                  <a:pt x="432065" y="1933490"/>
                </a:lnTo>
                <a:lnTo>
                  <a:pt x="468393" y="1959430"/>
                </a:lnTo>
                <a:lnTo>
                  <a:pt x="505823" y="1983874"/>
                </a:lnTo>
                <a:lnTo>
                  <a:pt x="544312" y="2006780"/>
                </a:lnTo>
                <a:lnTo>
                  <a:pt x="583816" y="2028104"/>
                </a:lnTo>
                <a:lnTo>
                  <a:pt x="624292" y="2047802"/>
                </a:lnTo>
                <a:lnTo>
                  <a:pt x="665696" y="2065832"/>
                </a:lnTo>
                <a:lnTo>
                  <a:pt x="707984" y="2082148"/>
                </a:lnTo>
                <a:lnTo>
                  <a:pt x="751112" y="2096709"/>
                </a:lnTo>
                <a:lnTo>
                  <a:pt x="795039" y="2109469"/>
                </a:lnTo>
                <a:lnTo>
                  <a:pt x="839718" y="2120386"/>
                </a:lnTo>
                <a:lnTo>
                  <a:pt x="885108" y="2129416"/>
                </a:lnTo>
                <a:lnTo>
                  <a:pt x="931164" y="2136515"/>
                </a:lnTo>
                <a:lnTo>
                  <a:pt x="977843" y="2141639"/>
                </a:lnTo>
                <a:lnTo>
                  <a:pt x="1025102" y="2144746"/>
                </a:lnTo>
                <a:lnTo>
                  <a:pt x="1072896" y="2145792"/>
                </a:lnTo>
                <a:lnTo>
                  <a:pt x="1120689" y="2144746"/>
                </a:lnTo>
                <a:lnTo>
                  <a:pt x="1167948" y="2141639"/>
                </a:lnTo>
                <a:lnTo>
                  <a:pt x="1214627" y="2136515"/>
                </a:lnTo>
                <a:lnTo>
                  <a:pt x="1260683" y="2129416"/>
                </a:lnTo>
                <a:lnTo>
                  <a:pt x="1306073" y="2120386"/>
                </a:lnTo>
                <a:lnTo>
                  <a:pt x="1350752" y="2109469"/>
                </a:lnTo>
                <a:lnTo>
                  <a:pt x="1394679" y="2096709"/>
                </a:lnTo>
                <a:lnTo>
                  <a:pt x="1437807" y="2082148"/>
                </a:lnTo>
                <a:lnTo>
                  <a:pt x="1480095" y="2065832"/>
                </a:lnTo>
                <a:lnTo>
                  <a:pt x="1521499" y="2047802"/>
                </a:lnTo>
                <a:lnTo>
                  <a:pt x="1561975" y="2028104"/>
                </a:lnTo>
                <a:lnTo>
                  <a:pt x="1601479" y="2006780"/>
                </a:lnTo>
                <a:lnTo>
                  <a:pt x="1639968" y="1983874"/>
                </a:lnTo>
                <a:lnTo>
                  <a:pt x="1677398" y="1959430"/>
                </a:lnTo>
                <a:lnTo>
                  <a:pt x="1713726" y="1933490"/>
                </a:lnTo>
                <a:lnTo>
                  <a:pt x="1748907" y="1906100"/>
                </a:lnTo>
                <a:lnTo>
                  <a:pt x="1782899" y="1877302"/>
                </a:lnTo>
                <a:lnTo>
                  <a:pt x="1815658" y="1847141"/>
                </a:lnTo>
                <a:lnTo>
                  <a:pt x="1847141" y="1815658"/>
                </a:lnTo>
                <a:lnTo>
                  <a:pt x="1877302" y="1782899"/>
                </a:lnTo>
                <a:lnTo>
                  <a:pt x="1906100" y="1748907"/>
                </a:lnTo>
                <a:lnTo>
                  <a:pt x="1933490" y="1713726"/>
                </a:lnTo>
                <a:lnTo>
                  <a:pt x="1959430" y="1677398"/>
                </a:lnTo>
                <a:lnTo>
                  <a:pt x="1983874" y="1639968"/>
                </a:lnTo>
                <a:lnTo>
                  <a:pt x="2006780" y="1601479"/>
                </a:lnTo>
                <a:lnTo>
                  <a:pt x="2028104" y="1561975"/>
                </a:lnTo>
                <a:lnTo>
                  <a:pt x="2047802" y="1521499"/>
                </a:lnTo>
                <a:lnTo>
                  <a:pt x="2065832" y="1480095"/>
                </a:lnTo>
                <a:lnTo>
                  <a:pt x="2082148" y="1437807"/>
                </a:lnTo>
                <a:lnTo>
                  <a:pt x="2096709" y="1394679"/>
                </a:lnTo>
                <a:lnTo>
                  <a:pt x="2109469" y="1350752"/>
                </a:lnTo>
                <a:lnTo>
                  <a:pt x="2120386" y="1306073"/>
                </a:lnTo>
                <a:lnTo>
                  <a:pt x="2129416" y="1260683"/>
                </a:lnTo>
                <a:lnTo>
                  <a:pt x="2136515" y="1214627"/>
                </a:lnTo>
                <a:lnTo>
                  <a:pt x="2141639" y="1167948"/>
                </a:lnTo>
                <a:lnTo>
                  <a:pt x="2144746" y="1120689"/>
                </a:lnTo>
                <a:lnTo>
                  <a:pt x="2145791" y="1072896"/>
                </a:lnTo>
                <a:lnTo>
                  <a:pt x="2144746" y="1025102"/>
                </a:lnTo>
                <a:lnTo>
                  <a:pt x="2141639" y="977843"/>
                </a:lnTo>
                <a:lnTo>
                  <a:pt x="2136515" y="931164"/>
                </a:lnTo>
                <a:lnTo>
                  <a:pt x="2129416" y="885108"/>
                </a:lnTo>
                <a:lnTo>
                  <a:pt x="2120386" y="839718"/>
                </a:lnTo>
                <a:lnTo>
                  <a:pt x="2109469" y="795039"/>
                </a:lnTo>
                <a:lnTo>
                  <a:pt x="2096709" y="751112"/>
                </a:lnTo>
                <a:lnTo>
                  <a:pt x="2082148" y="707984"/>
                </a:lnTo>
                <a:lnTo>
                  <a:pt x="2065832" y="665696"/>
                </a:lnTo>
                <a:lnTo>
                  <a:pt x="2047802" y="624292"/>
                </a:lnTo>
                <a:lnTo>
                  <a:pt x="2028104" y="583816"/>
                </a:lnTo>
                <a:lnTo>
                  <a:pt x="2006780" y="544312"/>
                </a:lnTo>
                <a:lnTo>
                  <a:pt x="1983874" y="505823"/>
                </a:lnTo>
                <a:lnTo>
                  <a:pt x="1959430" y="468393"/>
                </a:lnTo>
                <a:lnTo>
                  <a:pt x="1933490" y="432065"/>
                </a:lnTo>
                <a:lnTo>
                  <a:pt x="1906100" y="396884"/>
                </a:lnTo>
                <a:lnTo>
                  <a:pt x="1877302" y="362892"/>
                </a:lnTo>
                <a:lnTo>
                  <a:pt x="1847141" y="330133"/>
                </a:lnTo>
                <a:lnTo>
                  <a:pt x="1815658" y="298650"/>
                </a:lnTo>
                <a:lnTo>
                  <a:pt x="1782899" y="268489"/>
                </a:lnTo>
                <a:lnTo>
                  <a:pt x="1748907" y="239691"/>
                </a:lnTo>
                <a:lnTo>
                  <a:pt x="1713726" y="212301"/>
                </a:lnTo>
                <a:lnTo>
                  <a:pt x="1677398" y="186361"/>
                </a:lnTo>
                <a:lnTo>
                  <a:pt x="1639968" y="161917"/>
                </a:lnTo>
                <a:lnTo>
                  <a:pt x="1601479" y="139011"/>
                </a:lnTo>
                <a:lnTo>
                  <a:pt x="1561975" y="117687"/>
                </a:lnTo>
                <a:lnTo>
                  <a:pt x="1521499" y="97989"/>
                </a:lnTo>
                <a:lnTo>
                  <a:pt x="1480095" y="79959"/>
                </a:lnTo>
                <a:lnTo>
                  <a:pt x="1437807" y="63643"/>
                </a:lnTo>
                <a:lnTo>
                  <a:pt x="1394679" y="49082"/>
                </a:lnTo>
                <a:lnTo>
                  <a:pt x="1350752" y="36322"/>
                </a:lnTo>
                <a:lnTo>
                  <a:pt x="1306073" y="25405"/>
                </a:lnTo>
                <a:lnTo>
                  <a:pt x="1260683" y="16375"/>
                </a:lnTo>
                <a:lnTo>
                  <a:pt x="1214627" y="9276"/>
                </a:lnTo>
                <a:lnTo>
                  <a:pt x="1167948" y="4152"/>
                </a:lnTo>
                <a:lnTo>
                  <a:pt x="1120689" y="1045"/>
                </a:lnTo>
                <a:lnTo>
                  <a:pt x="1072896" y="0"/>
                </a:lnTo>
                <a:close/>
              </a:path>
            </a:pathLst>
          </a:custGeom>
          <a:solidFill>
            <a:srgbClr val="8EBE6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a:extLst>
              <a:ext uri="{FF2B5EF4-FFF2-40B4-BE49-F238E27FC236}">
                <a16:creationId xmlns:a16="http://schemas.microsoft.com/office/drawing/2014/main" id="{8C7EC77B-5656-85A3-E801-CA4939010977}"/>
              </a:ext>
            </a:extLst>
          </p:cNvPr>
          <p:cNvSpPr/>
          <p:nvPr/>
        </p:nvSpPr>
        <p:spPr>
          <a:xfrm>
            <a:off x="5045964" y="2276855"/>
            <a:ext cx="1840230" cy="1838706"/>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a:extLst>
              <a:ext uri="{FF2B5EF4-FFF2-40B4-BE49-F238E27FC236}">
                <a16:creationId xmlns:a16="http://schemas.microsoft.com/office/drawing/2014/main" id="{E6A30700-3834-2641-5DE5-570235F879F7}"/>
              </a:ext>
            </a:extLst>
          </p:cNvPr>
          <p:cNvSpPr/>
          <p:nvPr/>
        </p:nvSpPr>
        <p:spPr>
          <a:xfrm>
            <a:off x="5093208" y="232410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8"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a:extLst>
              <a:ext uri="{FF2B5EF4-FFF2-40B4-BE49-F238E27FC236}">
                <a16:creationId xmlns:a16="http://schemas.microsoft.com/office/drawing/2014/main" id="{F3050811-A06B-9375-9C6A-375E17B39FBD}"/>
              </a:ext>
            </a:extLst>
          </p:cNvPr>
          <p:cNvSpPr/>
          <p:nvPr/>
        </p:nvSpPr>
        <p:spPr>
          <a:xfrm>
            <a:off x="5570220" y="4072128"/>
            <a:ext cx="710565" cy="387350"/>
          </a:xfrm>
          <a:custGeom>
            <a:avLst/>
            <a:gdLst/>
            <a:ahLst/>
            <a:cxnLst/>
            <a:rect l="l" t="t" r="r" b="b"/>
            <a:pathLst>
              <a:path w="710564" h="387350">
                <a:moveTo>
                  <a:pt x="710183" y="0"/>
                </a:moveTo>
                <a:lnTo>
                  <a:pt x="0" y="0"/>
                </a:lnTo>
                <a:lnTo>
                  <a:pt x="355091" y="387096"/>
                </a:lnTo>
                <a:lnTo>
                  <a:pt x="710183" y="0"/>
                </a:lnTo>
                <a:close/>
              </a:path>
            </a:pathLst>
          </a:custGeom>
          <a:solidFill>
            <a:srgbClr val="8EBE6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a:extLst>
              <a:ext uri="{FF2B5EF4-FFF2-40B4-BE49-F238E27FC236}">
                <a16:creationId xmlns:a16="http://schemas.microsoft.com/office/drawing/2014/main" id="{1165536C-729B-5A17-B8C1-255A3F57B6F2}"/>
              </a:ext>
            </a:extLst>
          </p:cNvPr>
          <p:cNvSpPr/>
          <p:nvPr/>
        </p:nvSpPr>
        <p:spPr>
          <a:xfrm>
            <a:off x="7306056" y="2066544"/>
            <a:ext cx="2146300" cy="2147570"/>
          </a:xfrm>
          <a:custGeom>
            <a:avLst/>
            <a:gdLst/>
            <a:ahLst/>
            <a:cxnLst/>
            <a:rect l="l" t="t" r="r" b="b"/>
            <a:pathLst>
              <a:path w="2146300" h="2147570">
                <a:moveTo>
                  <a:pt x="1072896" y="0"/>
                </a:moveTo>
                <a:lnTo>
                  <a:pt x="1025102" y="1046"/>
                </a:lnTo>
                <a:lnTo>
                  <a:pt x="977843" y="4155"/>
                </a:lnTo>
                <a:lnTo>
                  <a:pt x="931164" y="9284"/>
                </a:lnTo>
                <a:lnTo>
                  <a:pt x="885108" y="16388"/>
                </a:lnTo>
                <a:lnTo>
                  <a:pt x="839718" y="25425"/>
                </a:lnTo>
                <a:lnTo>
                  <a:pt x="795039" y="36350"/>
                </a:lnTo>
                <a:lnTo>
                  <a:pt x="751112" y="49121"/>
                </a:lnTo>
                <a:lnTo>
                  <a:pt x="707984" y="63692"/>
                </a:lnTo>
                <a:lnTo>
                  <a:pt x="665696" y="80021"/>
                </a:lnTo>
                <a:lnTo>
                  <a:pt x="624292" y="98065"/>
                </a:lnTo>
                <a:lnTo>
                  <a:pt x="583816" y="117778"/>
                </a:lnTo>
                <a:lnTo>
                  <a:pt x="544312" y="139118"/>
                </a:lnTo>
                <a:lnTo>
                  <a:pt x="505823" y="162042"/>
                </a:lnTo>
                <a:lnTo>
                  <a:pt x="468393" y="186504"/>
                </a:lnTo>
                <a:lnTo>
                  <a:pt x="432065" y="212463"/>
                </a:lnTo>
                <a:lnTo>
                  <a:pt x="396884" y="239874"/>
                </a:lnTo>
                <a:lnTo>
                  <a:pt x="362892" y="268693"/>
                </a:lnTo>
                <a:lnTo>
                  <a:pt x="330133" y="298877"/>
                </a:lnTo>
                <a:lnTo>
                  <a:pt x="298650" y="330382"/>
                </a:lnTo>
                <a:lnTo>
                  <a:pt x="268489" y="363165"/>
                </a:lnTo>
                <a:lnTo>
                  <a:pt x="239691" y="397182"/>
                </a:lnTo>
                <a:lnTo>
                  <a:pt x="212301" y="432389"/>
                </a:lnTo>
                <a:lnTo>
                  <a:pt x="186361" y="468743"/>
                </a:lnTo>
                <a:lnTo>
                  <a:pt x="161917" y="506200"/>
                </a:lnTo>
                <a:lnTo>
                  <a:pt x="139011" y="544716"/>
                </a:lnTo>
                <a:lnTo>
                  <a:pt x="117687" y="584248"/>
                </a:lnTo>
                <a:lnTo>
                  <a:pt x="97989" y="624752"/>
                </a:lnTo>
                <a:lnTo>
                  <a:pt x="79959" y="666185"/>
                </a:lnTo>
                <a:lnTo>
                  <a:pt x="63643" y="708502"/>
                </a:lnTo>
                <a:lnTo>
                  <a:pt x="49082" y="751661"/>
                </a:lnTo>
                <a:lnTo>
                  <a:pt x="36322" y="795617"/>
                </a:lnTo>
                <a:lnTo>
                  <a:pt x="25405" y="840327"/>
                </a:lnTo>
                <a:lnTo>
                  <a:pt x="16375" y="885747"/>
                </a:lnTo>
                <a:lnTo>
                  <a:pt x="9276" y="931834"/>
                </a:lnTo>
                <a:lnTo>
                  <a:pt x="4152" y="978544"/>
                </a:lnTo>
                <a:lnTo>
                  <a:pt x="1045" y="1025833"/>
                </a:lnTo>
                <a:lnTo>
                  <a:pt x="0" y="1073657"/>
                </a:lnTo>
                <a:lnTo>
                  <a:pt x="1045" y="1121482"/>
                </a:lnTo>
                <a:lnTo>
                  <a:pt x="4152" y="1168771"/>
                </a:lnTo>
                <a:lnTo>
                  <a:pt x="9276" y="1215481"/>
                </a:lnTo>
                <a:lnTo>
                  <a:pt x="16375" y="1261568"/>
                </a:lnTo>
                <a:lnTo>
                  <a:pt x="25405" y="1306988"/>
                </a:lnTo>
                <a:lnTo>
                  <a:pt x="36322" y="1351698"/>
                </a:lnTo>
                <a:lnTo>
                  <a:pt x="49082" y="1395654"/>
                </a:lnTo>
                <a:lnTo>
                  <a:pt x="63643" y="1438813"/>
                </a:lnTo>
                <a:lnTo>
                  <a:pt x="79959" y="1481130"/>
                </a:lnTo>
                <a:lnTo>
                  <a:pt x="97989" y="1522563"/>
                </a:lnTo>
                <a:lnTo>
                  <a:pt x="117687" y="1563067"/>
                </a:lnTo>
                <a:lnTo>
                  <a:pt x="139011" y="1602599"/>
                </a:lnTo>
                <a:lnTo>
                  <a:pt x="161917" y="1641115"/>
                </a:lnTo>
                <a:lnTo>
                  <a:pt x="186361" y="1678572"/>
                </a:lnTo>
                <a:lnTo>
                  <a:pt x="212301" y="1714926"/>
                </a:lnTo>
                <a:lnTo>
                  <a:pt x="239691" y="1750133"/>
                </a:lnTo>
                <a:lnTo>
                  <a:pt x="268489" y="1784150"/>
                </a:lnTo>
                <a:lnTo>
                  <a:pt x="298650" y="1816933"/>
                </a:lnTo>
                <a:lnTo>
                  <a:pt x="330133" y="1848438"/>
                </a:lnTo>
                <a:lnTo>
                  <a:pt x="362892" y="1878622"/>
                </a:lnTo>
                <a:lnTo>
                  <a:pt x="396884" y="1907441"/>
                </a:lnTo>
                <a:lnTo>
                  <a:pt x="432065" y="1934852"/>
                </a:lnTo>
                <a:lnTo>
                  <a:pt x="468393" y="1960811"/>
                </a:lnTo>
                <a:lnTo>
                  <a:pt x="505823" y="1985273"/>
                </a:lnTo>
                <a:lnTo>
                  <a:pt x="544312" y="2008197"/>
                </a:lnTo>
                <a:lnTo>
                  <a:pt x="583816" y="2029537"/>
                </a:lnTo>
                <a:lnTo>
                  <a:pt x="624292" y="2049250"/>
                </a:lnTo>
                <a:lnTo>
                  <a:pt x="665696" y="2067294"/>
                </a:lnTo>
                <a:lnTo>
                  <a:pt x="707984" y="2083623"/>
                </a:lnTo>
                <a:lnTo>
                  <a:pt x="751112" y="2098194"/>
                </a:lnTo>
                <a:lnTo>
                  <a:pt x="795039" y="2110965"/>
                </a:lnTo>
                <a:lnTo>
                  <a:pt x="839718" y="2121890"/>
                </a:lnTo>
                <a:lnTo>
                  <a:pt x="885108" y="2130927"/>
                </a:lnTo>
                <a:lnTo>
                  <a:pt x="931164" y="2138031"/>
                </a:lnTo>
                <a:lnTo>
                  <a:pt x="977843" y="2143160"/>
                </a:lnTo>
                <a:lnTo>
                  <a:pt x="1025102" y="2146269"/>
                </a:lnTo>
                <a:lnTo>
                  <a:pt x="1072896" y="2147316"/>
                </a:lnTo>
                <a:lnTo>
                  <a:pt x="1120689" y="2146269"/>
                </a:lnTo>
                <a:lnTo>
                  <a:pt x="1167948" y="2143160"/>
                </a:lnTo>
                <a:lnTo>
                  <a:pt x="1214627" y="2138031"/>
                </a:lnTo>
                <a:lnTo>
                  <a:pt x="1260683" y="2130927"/>
                </a:lnTo>
                <a:lnTo>
                  <a:pt x="1306073" y="2121890"/>
                </a:lnTo>
                <a:lnTo>
                  <a:pt x="1350752" y="2110965"/>
                </a:lnTo>
                <a:lnTo>
                  <a:pt x="1394679" y="2098194"/>
                </a:lnTo>
                <a:lnTo>
                  <a:pt x="1437807" y="2083623"/>
                </a:lnTo>
                <a:lnTo>
                  <a:pt x="1480095" y="2067294"/>
                </a:lnTo>
                <a:lnTo>
                  <a:pt x="1521499" y="2049250"/>
                </a:lnTo>
                <a:lnTo>
                  <a:pt x="1561975" y="2029537"/>
                </a:lnTo>
                <a:lnTo>
                  <a:pt x="1601479" y="2008197"/>
                </a:lnTo>
                <a:lnTo>
                  <a:pt x="1639968" y="1985273"/>
                </a:lnTo>
                <a:lnTo>
                  <a:pt x="1677398" y="1960811"/>
                </a:lnTo>
                <a:lnTo>
                  <a:pt x="1713726" y="1934852"/>
                </a:lnTo>
                <a:lnTo>
                  <a:pt x="1748907" y="1907441"/>
                </a:lnTo>
                <a:lnTo>
                  <a:pt x="1782899" y="1878622"/>
                </a:lnTo>
                <a:lnTo>
                  <a:pt x="1815658" y="1848438"/>
                </a:lnTo>
                <a:lnTo>
                  <a:pt x="1847141" y="1816933"/>
                </a:lnTo>
                <a:lnTo>
                  <a:pt x="1877302" y="1784150"/>
                </a:lnTo>
                <a:lnTo>
                  <a:pt x="1906100" y="1750133"/>
                </a:lnTo>
                <a:lnTo>
                  <a:pt x="1933490" y="1714926"/>
                </a:lnTo>
                <a:lnTo>
                  <a:pt x="1959430" y="1678572"/>
                </a:lnTo>
                <a:lnTo>
                  <a:pt x="1983874" y="1641115"/>
                </a:lnTo>
                <a:lnTo>
                  <a:pt x="2006780" y="1602599"/>
                </a:lnTo>
                <a:lnTo>
                  <a:pt x="2028104" y="1563067"/>
                </a:lnTo>
                <a:lnTo>
                  <a:pt x="2047802" y="1522563"/>
                </a:lnTo>
                <a:lnTo>
                  <a:pt x="2065832" y="1481130"/>
                </a:lnTo>
                <a:lnTo>
                  <a:pt x="2082148" y="1438813"/>
                </a:lnTo>
                <a:lnTo>
                  <a:pt x="2096709" y="1395654"/>
                </a:lnTo>
                <a:lnTo>
                  <a:pt x="2109469" y="1351698"/>
                </a:lnTo>
                <a:lnTo>
                  <a:pt x="2120386" y="1306988"/>
                </a:lnTo>
                <a:lnTo>
                  <a:pt x="2129416" y="1261568"/>
                </a:lnTo>
                <a:lnTo>
                  <a:pt x="2136515" y="1215481"/>
                </a:lnTo>
                <a:lnTo>
                  <a:pt x="2141639" y="1168771"/>
                </a:lnTo>
                <a:lnTo>
                  <a:pt x="2144746" y="1121482"/>
                </a:lnTo>
                <a:lnTo>
                  <a:pt x="2145792" y="1073657"/>
                </a:lnTo>
                <a:lnTo>
                  <a:pt x="2144746" y="1025833"/>
                </a:lnTo>
                <a:lnTo>
                  <a:pt x="2141639" y="978544"/>
                </a:lnTo>
                <a:lnTo>
                  <a:pt x="2136515" y="931834"/>
                </a:lnTo>
                <a:lnTo>
                  <a:pt x="2129416" y="885747"/>
                </a:lnTo>
                <a:lnTo>
                  <a:pt x="2120386" y="840327"/>
                </a:lnTo>
                <a:lnTo>
                  <a:pt x="2109469" y="795617"/>
                </a:lnTo>
                <a:lnTo>
                  <a:pt x="2096709" y="751661"/>
                </a:lnTo>
                <a:lnTo>
                  <a:pt x="2082148" y="708502"/>
                </a:lnTo>
                <a:lnTo>
                  <a:pt x="2065832" y="666185"/>
                </a:lnTo>
                <a:lnTo>
                  <a:pt x="2047802" y="624752"/>
                </a:lnTo>
                <a:lnTo>
                  <a:pt x="2028104" y="584248"/>
                </a:lnTo>
                <a:lnTo>
                  <a:pt x="2006780" y="544716"/>
                </a:lnTo>
                <a:lnTo>
                  <a:pt x="1983874" y="506200"/>
                </a:lnTo>
                <a:lnTo>
                  <a:pt x="1959430" y="468743"/>
                </a:lnTo>
                <a:lnTo>
                  <a:pt x="1933490" y="432389"/>
                </a:lnTo>
                <a:lnTo>
                  <a:pt x="1906100" y="397182"/>
                </a:lnTo>
                <a:lnTo>
                  <a:pt x="1877302" y="363165"/>
                </a:lnTo>
                <a:lnTo>
                  <a:pt x="1847141" y="330382"/>
                </a:lnTo>
                <a:lnTo>
                  <a:pt x="1815658" y="298877"/>
                </a:lnTo>
                <a:lnTo>
                  <a:pt x="1782899" y="268693"/>
                </a:lnTo>
                <a:lnTo>
                  <a:pt x="1748907" y="239874"/>
                </a:lnTo>
                <a:lnTo>
                  <a:pt x="1713726" y="212463"/>
                </a:lnTo>
                <a:lnTo>
                  <a:pt x="1677398" y="186504"/>
                </a:lnTo>
                <a:lnTo>
                  <a:pt x="1639968" y="162042"/>
                </a:lnTo>
                <a:lnTo>
                  <a:pt x="1601479" y="139118"/>
                </a:lnTo>
                <a:lnTo>
                  <a:pt x="1561975" y="117778"/>
                </a:lnTo>
                <a:lnTo>
                  <a:pt x="1521499" y="98065"/>
                </a:lnTo>
                <a:lnTo>
                  <a:pt x="1480095" y="80021"/>
                </a:lnTo>
                <a:lnTo>
                  <a:pt x="1437807" y="63692"/>
                </a:lnTo>
                <a:lnTo>
                  <a:pt x="1394679" y="49121"/>
                </a:lnTo>
                <a:lnTo>
                  <a:pt x="1350752" y="36350"/>
                </a:lnTo>
                <a:lnTo>
                  <a:pt x="1306073" y="25425"/>
                </a:lnTo>
                <a:lnTo>
                  <a:pt x="1260683" y="16388"/>
                </a:lnTo>
                <a:lnTo>
                  <a:pt x="1214627" y="9284"/>
                </a:lnTo>
                <a:lnTo>
                  <a:pt x="1167948" y="4155"/>
                </a:lnTo>
                <a:lnTo>
                  <a:pt x="1120689" y="1046"/>
                </a:lnTo>
                <a:lnTo>
                  <a:pt x="1072896" y="0"/>
                </a:lnTo>
                <a:close/>
              </a:path>
            </a:pathLst>
          </a:custGeom>
          <a:solidFill>
            <a:srgbClr val="0076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a:extLst>
              <a:ext uri="{FF2B5EF4-FFF2-40B4-BE49-F238E27FC236}">
                <a16:creationId xmlns:a16="http://schemas.microsoft.com/office/drawing/2014/main" id="{D14CFAF7-510B-8081-C323-420609B45B37}"/>
              </a:ext>
            </a:extLst>
          </p:cNvPr>
          <p:cNvSpPr/>
          <p:nvPr/>
        </p:nvSpPr>
        <p:spPr>
          <a:xfrm>
            <a:off x="7499604" y="2261616"/>
            <a:ext cx="1840229" cy="183870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a:extLst>
              <a:ext uri="{FF2B5EF4-FFF2-40B4-BE49-F238E27FC236}">
                <a16:creationId xmlns:a16="http://schemas.microsoft.com/office/drawing/2014/main" id="{7B14B8EF-4C67-98FC-AC28-AB67130DF7B8}"/>
              </a:ext>
            </a:extLst>
          </p:cNvPr>
          <p:cNvSpPr/>
          <p:nvPr/>
        </p:nvSpPr>
        <p:spPr>
          <a:xfrm>
            <a:off x="7546847" y="2308860"/>
            <a:ext cx="1664335" cy="1663064"/>
          </a:xfrm>
          <a:custGeom>
            <a:avLst/>
            <a:gdLst/>
            <a:ahLst/>
            <a:cxnLst/>
            <a:rect l="l" t="t" r="r" b="b"/>
            <a:pathLst>
              <a:path w="1664334" h="1663064">
                <a:moveTo>
                  <a:pt x="832103" y="0"/>
                </a:moveTo>
                <a:lnTo>
                  <a:pt x="783206" y="1411"/>
                </a:lnTo>
                <a:lnTo>
                  <a:pt x="735052" y="5593"/>
                </a:lnTo>
                <a:lnTo>
                  <a:pt x="687722" y="12468"/>
                </a:lnTo>
                <a:lnTo>
                  <a:pt x="641292" y="21958"/>
                </a:lnTo>
                <a:lnTo>
                  <a:pt x="595842" y="33984"/>
                </a:lnTo>
                <a:lnTo>
                  <a:pt x="551447" y="48469"/>
                </a:lnTo>
                <a:lnTo>
                  <a:pt x="508188" y="65335"/>
                </a:lnTo>
                <a:lnTo>
                  <a:pt x="466141" y="84504"/>
                </a:lnTo>
                <a:lnTo>
                  <a:pt x="425385" y="105897"/>
                </a:lnTo>
                <a:lnTo>
                  <a:pt x="385998" y="129437"/>
                </a:lnTo>
                <a:lnTo>
                  <a:pt x="348058" y="155046"/>
                </a:lnTo>
                <a:lnTo>
                  <a:pt x="311642" y="182646"/>
                </a:lnTo>
                <a:lnTo>
                  <a:pt x="276829" y="212159"/>
                </a:lnTo>
                <a:lnTo>
                  <a:pt x="243697" y="243506"/>
                </a:lnTo>
                <a:lnTo>
                  <a:pt x="212323" y="276610"/>
                </a:lnTo>
                <a:lnTo>
                  <a:pt x="182786" y="311393"/>
                </a:lnTo>
                <a:lnTo>
                  <a:pt x="155164" y="347777"/>
                </a:lnTo>
                <a:lnTo>
                  <a:pt x="129535" y="385683"/>
                </a:lnTo>
                <a:lnTo>
                  <a:pt x="105976" y="425035"/>
                </a:lnTo>
                <a:lnTo>
                  <a:pt x="84566" y="465753"/>
                </a:lnTo>
                <a:lnTo>
                  <a:pt x="65383" y="507759"/>
                </a:lnTo>
                <a:lnTo>
                  <a:pt x="48504" y="550977"/>
                </a:lnTo>
                <a:lnTo>
                  <a:pt x="34008" y="595327"/>
                </a:lnTo>
                <a:lnTo>
                  <a:pt x="21973" y="640733"/>
                </a:lnTo>
                <a:lnTo>
                  <a:pt x="12477" y="687115"/>
                </a:lnTo>
                <a:lnTo>
                  <a:pt x="5597" y="734395"/>
                </a:lnTo>
                <a:lnTo>
                  <a:pt x="1412" y="782497"/>
                </a:lnTo>
                <a:lnTo>
                  <a:pt x="0" y="831341"/>
                </a:lnTo>
                <a:lnTo>
                  <a:pt x="1412" y="880186"/>
                </a:lnTo>
                <a:lnTo>
                  <a:pt x="5597" y="928288"/>
                </a:lnTo>
                <a:lnTo>
                  <a:pt x="12477" y="975568"/>
                </a:lnTo>
                <a:lnTo>
                  <a:pt x="21973" y="1021950"/>
                </a:lnTo>
                <a:lnTo>
                  <a:pt x="34008" y="1067356"/>
                </a:lnTo>
                <a:lnTo>
                  <a:pt x="48504" y="1111706"/>
                </a:lnTo>
                <a:lnTo>
                  <a:pt x="65383" y="1154924"/>
                </a:lnTo>
                <a:lnTo>
                  <a:pt x="84566" y="1196930"/>
                </a:lnTo>
                <a:lnTo>
                  <a:pt x="105976" y="1237648"/>
                </a:lnTo>
                <a:lnTo>
                  <a:pt x="129535" y="1277000"/>
                </a:lnTo>
                <a:lnTo>
                  <a:pt x="155164" y="1314906"/>
                </a:lnTo>
                <a:lnTo>
                  <a:pt x="182786" y="1351290"/>
                </a:lnTo>
                <a:lnTo>
                  <a:pt x="212323" y="1386073"/>
                </a:lnTo>
                <a:lnTo>
                  <a:pt x="243697" y="1419177"/>
                </a:lnTo>
                <a:lnTo>
                  <a:pt x="276829" y="1450524"/>
                </a:lnTo>
                <a:lnTo>
                  <a:pt x="311642" y="1480037"/>
                </a:lnTo>
                <a:lnTo>
                  <a:pt x="348058" y="1507637"/>
                </a:lnTo>
                <a:lnTo>
                  <a:pt x="385998" y="1533246"/>
                </a:lnTo>
                <a:lnTo>
                  <a:pt x="425385" y="1556786"/>
                </a:lnTo>
                <a:lnTo>
                  <a:pt x="466141" y="1578179"/>
                </a:lnTo>
                <a:lnTo>
                  <a:pt x="508188" y="1597348"/>
                </a:lnTo>
                <a:lnTo>
                  <a:pt x="551447" y="1614214"/>
                </a:lnTo>
                <a:lnTo>
                  <a:pt x="595842" y="1628699"/>
                </a:lnTo>
                <a:lnTo>
                  <a:pt x="641292" y="1640725"/>
                </a:lnTo>
                <a:lnTo>
                  <a:pt x="687722" y="1650215"/>
                </a:lnTo>
                <a:lnTo>
                  <a:pt x="735052" y="1657090"/>
                </a:lnTo>
                <a:lnTo>
                  <a:pt x="783206" y="1661272"/>
                </a:lnTo>
                <a:lnTo>
                  <a:pt x="832103" y="1662683"/>
                </a:lnTo>
                <a:lnTo>
                  <a:pt x="881001" y="1661272"/>
                </a:lnTo>
                <a:lnTo>
                  <a:pt x="929155" y="1657090"/>
                </a:lnTo>
                <a:lnTo>
                  <a:pt x="976485" y="1650215"/>
                </a:lnTo>
                <a:lnTo>
                  <a:pt x="1022915" y="1640725"/>
                </a:lnTo>
                <a:lnTo>
                  <a:pt x="1068365" y="1628699"/>
                </a:lnTo>
                <a:lnTo>
                  <a:pt x="1112760" y="1614214"/>
                </a:lnTo>
                <a:lnTo>
                  <a:pt x="1156019" y="1597348"/>
                </a:lnTo>
                <a:lnTo>
                  <a:pt x="1198066" y="1578179"/>
                </a:lnTo>
                <a:lnTo>
                  <a:pt x="1238822" y="1556786"/>
                </a:lnTo>
                <a:lnTo>
                  <a:pt x="1278209" y="1533246"/>
                </a:lnTo>
                <a:lnTo>
                  <a:pt x="1316149" y="1507637"/>
                </a:lnTo>
                <a:lnTo>
                  <a:pt x="1352565" y="1480037"/>
                </a:lnTo>
                <a:lnTo>
                  <a:pt x="1387378" y="1450524"/>
                </a:lnTo>
                <a:lnTo>
                  <a:pt x="1420510" y="1419177"/>
                </a:lnTo>
                <a:lnTo>
                  <a:pt x="1451884" y="1386073"/>
                </a:lnTo>
                <a:lnTo>
                  <a:pt x="1481421" y="1351290"/>
                </a:lnTo>
                <a:lnTo>
                  <a:pt x="1509043" y="1314906"/>
                </a:lnTo>
                <a:lnTo>
                  <a:pt x="1534672" y="1277000"/>
                </a:lnTo>
                <a:lnTo>
                  <a:pt x="1558231" y="1237648"/>
                </a:lnTo>
                <a:lnTo>
                  <a:pt x="1579641" y="1196930"/>
                </a:lnTo>
                <a:lnTo>
                  <a:pt x="1598824" y="1154924"/>
                </a:lnTo>
                <a:lnTo>
                  <a:pt x="1615703" y="1111706"/>
                </a:lnTo>
                <a:lnTo>
                  <a:pt x="1630199" y="1067356"/>
                </a:lnTo>
                <a:lnTo>
                  <a:pt x="1642234" y="1021950"/>
                </a:lnTo>
                <a:lnTo>
                  <a:pt x="1651730" y="975568"/>
                </a:lnTo>
                <a:lnTo>
                  <a:pt x="1658610" y="928288"/>
                </a:lnTo>
                <a:lnTo>
                  <a:pt x="1662795" y="880186"/>
                </a:lnTo>
                <a:lnTo>
                  <a:pt x="1664207" y="831341"/>
                </a:lnTo>
                <a:lnTo>
                  <a:pt x="1662795" y="782497"/>
                </a:lnTo>
                <a:lnTo>
                  <a:pt x="1658610" y="734395"/>
                </a:lnTo>
                <a:lnTo>
                  <a:pt x="1651730" y="687115"/>
                </a:lnTo>
                <a:lnTo>
                  <a:pt x="1642234" y="640733"/>
                </a:lnTo>
                <a:lnTo>
                  <a:pt x="1630199" y="595327"/>
                </a:lnTo>
                <a:lnTo>
                  <a:pt x="1615703" y="550977"/>
                </a:lnTo>
                <a:lnTo>
                  <a:pt x="1598824" y="507759"/>
                </a:lnTo>
                <a:lnTo>
                  <a:pt x="1579641" y="465753"/>
                </a:lnTo>
                <a:lnTo>
                  <a:pt x="1558231" y="425035"/>
                </a:lnTo>
                <a:lnTo>
                  <a:pt x="1534672" y="385683"/>
                </a:lnTo>
                <a:lnTo>
                  <a:pt x="1509043" y="347777"/>
                </a:lnTo>
                <a:lnTo>
                  <a:pt x="1481421" y="311393"/>
                </a:lnTo>
                <a:lnTo>
                  <a:pt x="1451884" y="276610"/>
                </a:lnTo>
                <a:lnTo>
                  <a:pt x="1420510" y="243506"/>
                </a:lnTo>
                <a:lnTo>
                  <a:pt x="1387378" y="212159"/>
                </a:lnTo>
                <a:lnTo>
                  <a:pt x="1352565" y="182646"/>
                </a:lnTo>
                <a:lnTo>
                  <a:pt x="1316149" y="155046"/>
                </a:lnTo>
                <a:lnTo>
                  <a:pt x="1278209" y="129437"/>
                </a:lnTo>
                <a:lnTo>
                  <a:pt x="1238822" y="105897"/>
                </a:lnTo>
                <a:lnTo>
                  <a:pt x="1198066" y="84504"/>
                </a:lnTo>
                <a:lnTo>
                  <a:pt x="1156019" y="65335"/>
                </a:lnTo>
                <a:lnTo>
                  <a:pt x="1112760" y="48469"/>
                </a:lnTo>
                <a:lnTo>
                  <a:pt x="1068365" y="33984"/>
                </a:lnTo>
                <a:lnTo>
                  <a:pt x="1022915" y="21958"/>
                </a:lnTo>
                <a:lnTo>
                  <a:pt x="976485" y="12468"/>
                </a:lnTo>
                <a:lnTo>
                  <a:pt x="929155" y="5593"/>
                </a:lnTo>
                <a:lnTo>
                  <a:pt x="881001" y="1411"/>
                </a:lnTo>
                <a:lnTo>
                  <a:pt x="83210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a:extLst>
              <a:ext uri="{FF2B5EF4-FFF2-40B4-BE49-F238E27FC236}">
                <a16:creationId xmlns:a16="http://schemas.microsoft.com/office/drawing/2014/main" id="{F8993162-1284-E5DF-1E83-F7879090CF7A}"/>
              </a:ext>
            </a:extLst>
          </p:cNvPr>
          <p:cNvSpPr/>
          <p:nvPr/>
        </p:nvSpPr>
        <p:spPr>
          <a:xfrm>
            <a:off x="8023859" y="4067555"/>
            <a:ext cx="710565" cy="387350"/>
          </a:xfrm>
          <a:custGeom>
            <a:avLst/>
            <a:gdLst/>
            <a:ahLst/>
            <a:cxnLst/>
            <a:rect l="l" t="t" r="r" b="b"/>
            <a:pathLst>
              <a:path w="710565" h="387350">
                <a:moveTo>
                  <a:pt x="710184" y="0"/>
                </a:moveTo>
                <a:lnTo>
                  <a:pt x="0" y="0"/>
                </a:lnTo>
                <a:lnTo>
                  <a:pt x="355092" y="387096"/>
                </a:lnTo>
                <a:lnTo>
                  <a:pt x="710184" y="0"/>
                </a:lnTo>
                <a:close/>
              </a:path>
            </a:pathLst>
          </a:custGeom>
          <a:solidFill>
            <a:srgbClr val="0076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a:extLst>
              <a:ext uri="{FF2B5EF4-FFF2-40B4-BE49-F238E27FC236}">
                <a16:creationId xmlns:a16="http://schemas.microsoft.com/office/drawing/2014/main" id="{33F0DE6E-DBA7-CB38-C8D1-01BBF95D73A1}"/>
              </a:ext>
            </a:extLst>
          </p:cNvPr>
          <p:cNvSpPr/>
          <p:nvPr/>
        </p:nvSpPr>
        <p:spPr>
          <a:xfrm>
            <a:off x="3304794" y="4562094"/>
            <a:ext cx="335280" cy="335280"/>
          </a:xfrm>
          <a:custGeom>
            <a:avLst/>
            <a:gdLst/>
            <a:ahLst/>
            <a:cxnLst/>
            <a:rect l="l" t="t" r="r" b="b"/>
            <a:pathLst>
              <a:path w="335279" h="335279">
                <a:moveTo>
                  <a:pt x="0" y="167639"/>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39"/>
                </a:lnTo>
                <a:lnTo>
                  <a:pt x="329291" y="212204"/>
                </a:lnTo>
                <a:lnTo>
                  <a:pt x="312391" y="252250"/>
                </a:lnTo>
                <a:lnTo>
                  <a:pt x="286178" y="286178"/>
                </a:lnTo>
                <a:lnTo>
                  <a:pt x="252250" y="312391"/>
                </a:lnTo>
                <a:lnTo>
                  <a:pt x="212204" y="329291"/>
                </a:lnTo>
                <a:lnTo>
                  <a:pt x="167639" y="335279"/>
                </a:lnTo>
                <a:lnTo>
                  <a:pt x="123075" y="329291"/>
                </a:lnTo>
                <a:lnTo>
                  <a:pt x="83029" y="312391"/>
                </a:lnTo>
                <a:lnTo>
                  <a:pt x="49101" y="286178"/>
                </a:lnTo>
                <a:lnTo>
                  <a:pt x="22888" y="252250"/>
                </a:lnTo>
                <a:lnTo>
                  <a:pt x="5988" y="212204"/>
                </a:lnTo>
                <a:lnTo>
                  <a:pt x="0" y="167639"/>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a:extLst>
              <a:ext uri="{FF2B5EF4-FFF2-40B4-BE49-F238E27FC236}">
                <a16:creationId xmlns:a16="http://schemas.microsoft.com/office/drawing/2014/main" id="{4C0D5482-45AF-8ECD-A7E8-C5CC5BFC1D09}"/>
              </a:ext>
            </a:extLst>
          </p:cNvPr>
          <p:cNvSpPr/>
          <p:nvPr/>
        </p:nvSpPr>
        <p:spPr>
          <a:xfrm>
            <a:off x="3354323" y="4611623"/>
            <a:ext cx="237743" cy="237743"/>
          </a:xfrm>
          <a:prstGeom prst="rect">
            <a:avLst/>
          </a:prstGeom>
          <a:blipFill>
            <a:blip r:embed="rId4" cstate="print">
              <a:graysc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a:extLst>
              <a:ext uri="{FF2B5EF4-FFF2-40B4-BE49-F238E27FC236}">
                <a16:creationId xmlns:a16="http://schemas.microsoft.com/office/drawing/2014/main" id="{57DBB893-F087-26EA-7A37-59AD78FBEC3B}"/>
              </a:ext>
            </a:extLst>
          </p:cNvPr>
          <p:cNvSpPr/>
          <p:nvPr/>
        </p:nvSpPr>
        <p:spPr>
          <a:xfrm>
            <a:off x="8212073"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40"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40"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a:extLst>
              <a:ext uri="{FF2B5EF4-FFF2-40B4-BE49-F238E27FC236}">
                <a16:creationId xmlns:a16="http://schemas.microsoft.com/office/drawing/2014/main" id="{CCFDE3BA-FD98-413C-7BA3-FA4AF3C8D2FE}"/>
              </a:ext>
            </a:extLst>
          </p:cNvPr>
          <p:cNvSpPr/>
          <p:nvPr/>
        </p:nvSpPr>
        <p:spPr>
          <a:xfrm>
            <a:off x="8261604" y="4588764"/>
            <a:ext cx="237744" cy="237743"/>
          </a:xfrm>
          <a:prstGeom prst="rect">
            <a:avLst/>
          </a:prstGeom>
          <a:blipFill>
            <a:blip r:embed="rId5" cstate="print">
              <a:graysc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a:extLst>
              <a:ext uri="{FF2B5EF4-FFF2-40B4-BE49-F238E27FC236}">
                <a16:creationId xmlns:a16="http://schemas.microsoft.com/office/drawing/2014/main" id="{1F33C38A-8981-FEC0-12FF-850B349EAE4F}"/>
              </a:ext>
            </a:extLst>
          </p:cNvPr>
          <p:cNvSpPr/>
          <p:nvPr/>
        </p:nvSpPr>
        <p:spPr>
          <a:xfrm>
            <a:off x="3640073" y="4708397"/>
            <a:ext cx="4572000" cy="22225"/>
          </a:xfrm>
          <a:custGeom>
            <a:avLst/>
            <a:gdLst/>
            <a:ahLst/>
            <a:cxnLst/>
            <a:rect l="l" t="t" r="r" b="b"/>
            <a:pathLst>
              <a:path w="4572000" h="22225">
                <a:moveTo>
                  <a:pt x="0" y="21843"/>
                </a:moveTo>
                <a:lnTo>
                  <a:pt x="4571492" y="0"/>
                </a:lnTo>
              </a:path>
            </a:pathLst>
          </a:custGeom>
          <a:ln w="28956">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5">
            <a:extLst>
              <a:ext uri="{FF2B5EF4-FFF2-40B4-BE49-F238E27FC236}">
                <a16:creationId xmlns:a16="http://schemas.microsoft.com/office/drawing/2014/main" id="{7BC97470-DFB3-FFD7-140B-E8C9B96535FA}"/>
              </a:ext>
            </a:extLst>
          </p:cNvPr>
          <p:cNvSpPr/>
          <p:nvPr/>
        </p:nvSpPr>
        <p:spPr>
          <a:xfrm>
            <a:off x="5758434" y="4540758"/>
            <a:ext cx="335280" cy="335280"/>
          </a:xfrm>
          <a:custGeom>
            <a:avLst/>
            <a:gdLst/>
            <a:ahLst/>
            <a:cxnLst/>
            <a:rect l="l" t="t" r="r" b="b"/>
            <a:pathLst>
              <a:path w="335279" h="335279">
                <a:moveTo>
                  <a:pt x="167639" y="0"/>
                </a:moveTo>
                <a:lnTo>
                  <a:pt x="123075" y="5988"/>
                </a:lnTo>
                <a:lnTo>
                  <a:pt x="83029" y="22888"/>
                </a:lnTo>
                <a:lnTo>
                  <a:pt x="49101" y="49101"/>
                </a:lnTo>
                <a:lnTo>
                  <a:pt x="22888" y="83029"/>
                </a:lnTo>
                <a:lnTo>
                  <a:pt x="5988" y="123075"/>
                </a:lnTo>
                <a:lnTo>
                  <a:pt x="0" y="167640"/>
                </a:lnTo>
                <a:lnTo>
                  <a:pt x="5988" y="212204"/>
                </a:lnTo>
                <a:lnTo>
                  <a:pt x="22888" y="252250"/>
                </a:lnTo>
                <a:lnTo>
                  <a:pt x="49101" y="286178"/>
                </a:lnTo>
                <a:lnTo>
                  <a:pt x="83029" y="312391"/>
                </a:lnTo>
                <a:lnTo>
                  <a:pt x="123075" y="329291"/>
                </a:lnTo>
                <a:lnTo>
                  <a:pt x="167639" y="335280"/>
                </a:lnTo>
                <a:lnTo>
                  <a:pt x="212204" y="329291"/>
                </a:lnTo>
                <a:lnTo>
                  <a:pt x="252250" y="312391"/>
                </a:lnTo>
                <a:lnTo>
                  <a:pt x="286178" y="286178"/>
                </a:lnTo>
                <a:lnTo>
                  <a:pt x="312391" y="252250"/>
                </a:lnTo>
                <a:lnTo>
                  <a:pt x="329291" y="212204"/>
                </a:lnTo>
                <a:lnTo>
                  <a:pt x="335279" y="167640"/>
                </a:lnTo>
                <a:lnTo>
                  <a:pt x="329291" y="123075"/>
                </a:lnTo>
                <a:lnTo>
                  <a:pt x="312391" y="83029"/>
                </a:lnTo>
                <a:lnTo>
                  <a:pt x="286178" y="49101"/>
                </a:lnTo>
                <a:lnTo>
                  <a:pt x="252250" y="22888"/>
                </a:lnTo>
                <a:lnTo>
                  <a:pt x="212204" y="5988"/>
                </a:lnTo>
                <a:lnTo>
                  <a:pt x="16763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6">
            <a:extLst>
              <a:ext uri="{FF2B5EF4-FFF2-40B4-BE49-F238E27FC236}">
                <a16:creationId xmlns:a16="http://schemas.microsoft.com/office/drawing/2014/main" id="{0F210F69-D1E4-5811-F477-8140523C5227}"/>
              </a:ext>
            </a:extLst>
          </p:cNvPr>
          <p:cNvSpPr/>
          <p:nvPr/>
        </p:nvSpPr>
        <p:spPr>
          <a:xfrm>
            <a:off x="5758434" y="4540758"/>
            <a:ext cx="335280" cy="335280"/>
          </a:xfrm>
          <a:custGeom>
            <a:avLst/>
            <a:gdLst/>
            <a:ahLst/>
            <a:cxnLst/>
            <a:rect l="l" t="t" r="r" b="b"/>
            <a:pathLst>
              <a:path w="335279" h="335279">
                <a:moveTo>
                  <a:pt x="0" y="167640"/>
                </a:moveTo>
                <a:lnTo>
                  <a:pt x="5988" y="123075"/>
                </a:lnTo>
                <a:lnTo>
                  <a:pt x="22888" y="83029"/>
                </a:lnTo>
                <a:lnTo>
                  <a:pt x="49101" y="49101"/>
                </a:lnTo>
                <a:lnTo>
                  <a:pt x="83029" y="22888"/>
                </a:lnTo>
                <a:lnTo>
                  <a:pt x="123075" y="5988"/>
                </a:lnTo>
                <a:lnTo>
                  <a:pt x="167639" y="0"/>
                </a:lnTo>
                <a:lnTo>
                  <a:pt x="212204" y="5988"/>
                </a:lnTo>
                <a:lnTo>
                  <a:pt x="252250" y="22888"/>
                </a:lnTo>
                <a:lnTo>
                  <a:pt x="286178" y="49101"/>
                </a:lnTo>
                <a:lnTo>
                  <a:pt x="312391" y="83029"/>
                </a:lnTo>
                <a:lnTo>
                  <a:pt x="329291" y="123075"/>
                </a:lnTo>
                <a:lnTo>
                  <a:pt x="335279" y="167640"/>
                </a:lnTo>
                <a:lnTo>
                  <a:pt x="329291" y="212204"/>
                </a:lnTo>
                <a:lnTo>
                  <a:pt x="312391" y="252250"/>
                </a:lnTo>
                <a:lnTo>
                  <a:pt x="286178" y="286178"/>
                </a:lnTo>
                <a:lnTo>
                  <a:pt x="252250" y="312391"/>
                </a:lnTo>
                <a:lnTo>
                  <a:pt x="212204" y="329291"/>
                </a:lnTo>
                <a:lnTo>
                  <a:pt x="167639" y="335280"/>
                </a:lnTo>
                <a:lnTo>
                  <a:pt x="123075" y="329291"/>
                </a:lnTo>
                <a:lnTo>
                  <a:pt x="83029" y="312391"/>
                </a:lnTo>
                <a:lnTo>
                  <a:pt x="49101" y="286178"/>
                </a:lnTo>
                <a:lnTo>
                  <a:pt x="22888" y="252250"/>
                </a:lnTo>
                <a:lnTo>
                  <a:pt x="5988" y="212204"/>
                </a:lnTo>
                <a:lnTo>
                  <a:pt x="0" y="167640"/>
                </a:lnTo>
                <a:close/>
              </a:path>
            </a:pathLst>
          </a:custGeom>
          <a:ln w="28955">
            <a:solidFill>
              <a:srgbClr val="F9F8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7">
            <a:extLst>
              <a:ext uri="{FF2B5EF4-FFF2-40B4-BE49-F238E27FC236}">
                <a16:creationId xmlns:a16="http://schemas.microsoft.com/office/drawing/2014/main" id="{27335F7B-565C-DDF2-6B8E-E1CCFF386C43}"/>
              </a:ext>
            </a:extLst>
          </p:cNvPr>
          <p:cNvSpPr/>
          <p:nvPr/>
        </p:nvSpPr>
        <p:spPr>
          <a:xfrm>
            <a:off x="5807964" y="4588764"/>
            <a:ext cx="237743" cy="237743"/>
          </a:xfrm>
          <a:prstGeom prst="rect">
            <a:avLst/>
          </a:prstGeom>
          <a:blipFill>
            <a:blip r:embed="rId6" cstate="print">
              <a:graysc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8">
            <a:extLst>
              <a:ext uri="{FF2B5EF4-FFF2-40B4-BE49-F238E27FC236}">
                <a16:creationId xmlns:a16="http://schemas.microsoft.com/office/drawing/2014/main" id="{D4E6934C-3F02-443D-9A4F-972D4A01C8E1}"/>
              </a:ext>
            </a:extLst>
          </p:cNvPr>
          <p:cNvSpPr/>
          <p:nvPr/>
        </p:nvSpPr>
        <p:spPr>
          <a:xfrm>
            <a:off x="3446278" y="2916824"/>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29">
            <a:extLst>
              <a:ext uri="{FF2B5EF4-FFF2-40B4-BE49-F238E27FC236}">
                <a16:creationId xmlns:a16="http://schemas.microsoft.com/office/drawing/2014/main" id="{76BB37B8-571B-2E69-FC06-01D29BCAD46B}"/>
              </a:ext>
            </a:extLst>
          </p:cNvPr>
          <p:cNvSpPr/>
          <p:nvPr/>
        </p:nvSpPr>
        <p:spPr>
          <a:xfrm>
            <a:off x="3446278" y="3433815"/>
            <a:ext cx="52069" cy="52069"/>
          </a:xfrm>
          <a:custGeom>
            <a:avLst/>
            <a:gdLst/>
            <a:ahLst/>
            <a:cxnLst/>
            <a:rect l="l" t="t" r="r" b="b"/>
            <a:pathLst>
              <a:path w="52070" h="52070">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0">
            <a:extLst>
              <a:ext uri="{FF2B5EF4-FFF2-40B4-BE49-F238E27FC236}">
                <a16:creationId xmlns:a16="http://schemas.microsoft.com/office/drawing/2014/main" id="{C835B76E-988B-2A1C-C820-BCC2F1FD8F64}"/>
              </a:ext>
            </a:extLst>
          </p:cNvPr>
          <p:cNvSpPr/>
          <p:nvPr/>
        </p:nvSpPr>
        <p:spPr>
          <a:xfrm>
            <a:off x="3705582" y="3162395"/>
            <a:ext cx="52069" cy="52069"/>
          </a:xfrm>
          <a:custGeom>
            <a:avLst/>
            <a:gdLst/>
            <a:ahLst/>
            <a:cxnLst/>
            <a:rect l="l" t="t" r="r" b="b"/>
            <a:pathLst>
              <a:path w="52070"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1">
            <a:extLst>
              <a:ext uri="{FF2B5EF4-FFF2-40B4-BE49-F238E27FC236}">
                <a16:creationId xmlns:a16="http://schemas.microsoft.com/office/drawing/2014/main" id="{676CDDC4-67F5-496A-AC5F-5B5C38E32645}"/>
              </a:ext>
            </a:extLst>
          </p:cNvPr>
          <p:cNvSpPr/>
          <p:nvPr/>
        </p:nvSpPr>
        <p:spPr>
          <a:xfrm>
            <a:off x="3186975" y="3162395"/>
            <a:ext cx="52069" cy="52069"/>
          </a:xfrm>
          <a:custGeom>
            <a:avLst/>
            <a:gdLst/>
            <a:ahLst/>
            <a:cxnLst/>
            <a:rect l="l" t="t" r="r" b="b"/>
            <a:pathLst>
              <a:path w="52069" h="52069">
                <a:moveTo>
                  <a:pt x="25930" y="0"/>
                </a:moveTo>
                <a:lnTo>
                  <a:pt x="15839" y="2030"/>
                </a:lnTo>
                <a:lnTo>
                  <a:pt x="7596" y="7569"/>
                </a:lnTo>
                <a:lnTo>
                  <a:pt x="2038" y="15785"/>
                </a:lnTo>
                <a:lnTo>
                  <a:pt x="0" y="25849"/>
                </a:lnTo>
                <a:lnTo>
                  <a:pt x="2038" y="35909"/>
                </a:lnTo>
                <a:lnTo>
                  <a:pt x="7596" y="44125"/>
                </a:lnTo>
                <a:lnTo>
                  <a:pt x="15839" y="49666"/>
                </a:lnTo>
                <a:lnTo>
                  <a:pt x="25930" y="51699"/>
                </a:lnTo>
                <a:lnTo>
                  <a:pt x="36021" y="49666"/>
                </a:lnTo>
                <a:lnTo>
                  <a:pt x="44263" y="44125"/>
                </a:lnTo>
                <a:lnTo>
                  <a:pt x="49822" y="35909"/>
                </a:lnTo>
                <a:lnTo>
                  <a:pt x="51860" y="25849"/>
                </a:lnTo>
                <a:lnTo>
                  <a:pt x="49822" y="15785"/>
                </a:lnTo>
                <a:lnTo>
                  <a:pt x="44263" y="7569"/>
                </a:lnTo>
                <a:lnTo>
                  <a:pt x="36021" y="2030"/>
                </a:lnTo>
                <a:lnTo>
                  <a:pt x="2593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2">
            <a:extLst>
              <a:ext uri="{FF2B5EF4-FFF2-40B4-BE49-F238E27FC236}">
                <a16:creationId xmlns:a16="http://schemas.microsoft.com/office/drawing/2014/main" id="{F95C5A78-FD37-93B3-7840-9C4E5E8B8352}"/>
              </a:ext>
            </a:extLst>
          </p:cNvPr>
          <p:cNvSpPr/>
          <p:nvPr/>
        </p:nvSpPr>
        <p:spPr>
          <a:xfrm>
            <a:off x="3446278" y="3007298"/>
            <a:ext cx="172720" cy="327025"/>
          </a:xfrm>
          <a:custGeom>
            <a:avLst/>
            <a:gdLst/>
            <a:ahLst/>
            <a:cxnLst/>
            <a:rect l="l" t="t" r="r" b="b"/>
            <a:pathLst>
              <a:path w="172720" h="327025">
                <a:moveTo>
                  <a:pt x="51860" y="0"/>
                </a:moveTo>
                <a:lnTo>
                  <a:pt x="0" y="0"/>
                </a:lnTo>
                <a:lnTo>
                  <a:pt x="0" y="187409"/>
                </a:lnTo>
                <a:lnTo>
                  <a:pt x="2593" y="193871"/>
                </a:lnTo>
                <a:lnTo>
                  <a:pt x="136134" y="326996"/>
                </a:lnTo>
                <a:lnTo>
                  <a:pt x="172437" y="290807"/>
                </a:lnTo>
                <a:lnTo>
                  <a:pt x="51860" y="170606"/>
                </a:lnTo>
                <a:lnTo>
                  <a:pt x="51860"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3">
            <a:extLst>
              <a:ext uri="{FF2B5EF4-FFF2-40B4-BE49-F238E27FC236}">
                <a16:creationId xmlns:a16="http://schemas.microsoft.com/office/drawing/2014/main" id="{E66E32F6-D970-63FF-5014-3384323C2C43}"/>
              </a:ext>
            </a:extLst>
          </p:cNvPr>
          <p:cNvSpPr/>
          <p:nvPr/>
        </p:nvSpPr>
        <p:spPr>
          <a:xfrm>
            <a:off x="3031866" y="2632436"/>
            <a:ext cx="882650" cy="1007744"/>
          </a:xfrm>
          <a:custGeom>
            <a:avLst/>
            <a:gdLst/>
            <a:ahLst/>
            <a:cxnLst/>
            <a:rect l="l" t="t" r="r" b="b"/>
            <a:pathLst>
              <a:path w="882650" h="1007745">
                <a:moveTo>
                  <a:pt x="479238" y="77591"/>
                </a:moveTo>
                <a:lnTo>
                  <a:pt x="401447" y="77591"/>
                </a:lnTo>
                <a:lnTo>
                  <a:pt x="401447" y="130583"/>
                </a:lnTo>
                <a:lnTo>
                  <a:pt x="354633" y="137216"/>
                </a:lnTo>
                <a:lnTo>
                  <a:pt x="309519" y="148594"/>
                </a:lnTo>
                <a:lnTo>
                  <a:pt x="266378" y="164458"/>
                </a:lnTo>
                <a:lnTo>
                  <a:pt x="225481" y="184550"/>
                </a:lnTo>
                <a:lnTo>
                  <a:pt x="187102" y="208614"/>
                </a:lnTo>
                <a:lnTo>
                  <a:pt x="151513" y="236390"/>
                </a:lnTo>
                <a:lnTo>
                  <a:pt x="118987" y="267623"/>
                </a:lnTo>
                <a:lnTo>
                  <a:pt x="89796" y="302053"/>
                </a:lnTo>
                <a:lnTo>
                  <a:pt x="64213" y="339424"/>
                </a:lnTo>
                <a:lnTo>
                  <a:pt x="42511" y="379477"/>
                </a:lnTo>
                <a:lnTo>
                  <a:pt x="24962" y="421955"/>
                </a:lnTo>
                <a:lnTo>
                  <a:pt x="11839" y="466601"/>
                </a:lnTo>
                <a:lnTo>
                  <a:pt x="3415" y="513156"/>
                </a:lnTo>
                <a:lnTo>
                  <a:pt x="0" y="560343"/>
                </a:lnTo>
                <a:lnTo>
                  <a:pt x="1590" y="606846"/>
                </a:lnTo>
                <a:lnTo>
                  <a:pt x="7993" y="652346"/>
                </a:lnTo>
                <a:lnTo>
                  <a:pt x="19014" y="696526"/>
                </a:lnTo>
                <a:lnTo>
                  <a:pt x="34456" y="739069"/>
                </a:lnTo>
                <a:lnTo>
                  <a:pt x="54126" y="779655"/>
                </a:lnTo>
                <a:lnTo>
                  <a:pt x="77830" y="817969"/>
                </a:lnTo>
                <a:lnTo>
                  <a:pt x="105371" y="853692"/>
                </a:lnTo>
                <a:lnTo>
                  <a:pt x="136556" y="886506"/>
                </a:lnTo>
                <a:lnTo>
                  <a:pt x="171190" y="916094"/>
                </a:lnTo>
                <a:lnTo>
                  <a:pt x="209077" y="942139"/>
                </a:lnTo>
                <a:lnTo>
                  <a:pt x="250024" y="964321"/>
                </a:lnTo>
                <a:lnTo>
                  <a:pt x="293835" y="982325"/>
                </a:lnTo>
                <a:lnTo>
                  <a:pt x="339325" y="995605"/>
                </a:lnTo>
                <a:lnTo>
                  <a:pt x="385203" y="1003909"/>
                </a:lnTo>
                <a:lnTo>
                  <a:pt x="431124" y="1007352"/>
                </a:lnTo>
                <a:lnTo>
                  <a:pt x="476741" y="1006051"/>
                </a:lnTo>
                <a:lnTo>
                  <a:pt x="521706" y="1000123"/>
                </a:lnTo>
                <a:lnTo>
                  <a:pt x="565673" y="989684"/>
                </a:lnTo>
                <a:lnTo>
                  <a:pt x="608294" y="974850"/>
                </a:lnTo>
                <a:lnTo>
                  <a:pt x="649222" y="955738"/>
                </a:lnTo>
                <a:lnTo>
                  <a:pt x="688111" y="932465"/>
                </a:lnTo>
                <a:lnTo>
                  <a:pt x="690569" y="930626"/>
                </a:lnTo>
                <a:lnTo>
                  <a:pt x="440342" y="930626"/>
                </a:lnTo>
                <a:lnTo>
                  <a:pt x="390984" y="927331"/>
                </a:lnTo>
                <a:lnTo>
                  <a:pt x="343673" y="917731"/>
                </a:lnTo>
                <a:lnTo>
                  <a:pt x="298839" y="902252"/>
                </a:lnTo>
                <a:lnTo>
                  <a:pt x="256909" y="881320"/>
                </a:lnTo>
                <a:lnTo>
                  <a:pt x="218309" y="855362"/>
                </a:lnTo>
                <a:lnTo>
                  <a:pt x="183469" y="824804"/>
                </a:lnTo>
                <a:lnTo>
                  <a:pt x="152816" y="790073"/>
                </a:lnTo>
                <a:lnTo>
                  <a:pt x="126777" y="751594"/>
                </a:lnTo>
                <a:lnTo>
                  <a:pt x="105779" y="709794"/>
                </a:lnTo>
                <a:lnTo>
                  <a:pt x="90252" y="665100"/>
                </a:lnTo>
                <a:lnTo>
                  <a:pt x="80622" y="617937"/>
                </a:lnTo>
                <a:lnTo>
                  <a:pt x="77317" y="568732"/>
                </a:lnTo>
                <a:lnTo>
                  <a:pt x="80622" y="519528"/>
                </a:lnTo>
                <a:lnTo>
                  <a:pt x="90252" y="472365"/>
                </a:lnTo>
                <a:lnTo>
                  <a:pt x="105779" y="427671"/>
                </a:lnTo>
                <a:lnTo>
                  <a:pt x="126777" y="385871"/>
                </a:lnTo>
                <a:lnTo>
                  <a:pt x="152816" y="347392"/>
                </a:lnTo>
                <a:lnTo>
                  <a:pt x="183469" y="312660"/>
                </a:lnTo>
                <a:lnTo>
                  <a:pt x="218309" y="282102"/>
                </a:lnTo>
                <a:lnTo>
                  <a:pt x="256909" y="256144"/>
                </a:lnTo>
                <a:lnTo>
                  <a:pt x="298839" y="235213"/>
                </a:lnTo>
                <a:lnTo>
                  <a:pt x="343673" y="219734"/>
                </a:lnTo>
                <a:lnTo>
                  <a:pt x="390984" y="210134"/>
                </a:lnTo>
                <a:lnTo>
                  <a:pt x="440342" y="206839"/>
                </a:lnTo>
                <a:lnTo>
                  <a:pt x="791344" y="206839"/>
                </a:lnTo>
                <a:lnTo>
                  <a:pt x="792955" y="204254"/>
                </a:lnTo>
                <a:lnTo>
                  <a:pt x="686681" y="204254"/>
                </a:lnTo>
                <a:lnTo>
                  <a:pt x="638406" y="176223"/>
                </a:lnTo>
                <a:lnTo>
                  <a:pt x="587335" y="154494"/>
                </a:lnTo>
                <a:lnTo>
                  <a:pt x="534076" y="139549"/>
                </a:lnTo>
                <a:lnTo>
                  <a:pt x="479238" y="131875"/>
                </a:lnTo>
                <a:lnTo>
                  <a:pt x="479238" y="77591"/>
                </a:lnTo>
                <a:close/>
              </a:path>
              <a:path w="882650" h="1007745">
                <a:moveTo>
                  <a:pt x="791344" y="206839"/>
                </a:moveTo>
                <a:lnTo>
                  <a:pt x="440342" y="206839"/>
                </a:lnTo>
                <a:lnTo>
                  <a:pt x="489701" y="210134"/>
                </a:lnTo>
                <a:lnTo>
                  <a:pt x="537011" y="219734"/>
                </a:lnTo>
                <a:lnTo>
                  <a:pt x="581845" y="235213"/>
                </a:lnTo>
                <a:lnTo>
                  <a:pt x="623776" y="256144"/>
                </a:lnTo>
                <a:lnTo>
                  <a:pt x="662375" y="282102"/>
                </a:lnTo>
                <a:lnTo>
                  <a:pt x="697215" y="312660"/>
                </a:lnTo>
                <a:lnTo>
                  <a:pt x="727869" y="347392"/>
                </a:lnTo>
                <a:lnTo>
                  <a:pt x="753908" y="385871"/>
                </a:lnTo>
                <a:lnTo>
                  <a:pt x="774905" y="427671"/>
                </a:lnTo>
                <a:lnTo>
                  <a:pt x="790432" y="472365"/>
                </a:lnTo>
                <a:lnTo>
                  <a:pt x="800062" y="519528"/>
                </a:lnTo>
                <a:lnTo>
                  <a:pt x="803368" y="568732"/>
                </a:lnTo>
                <a:lnTo>
                  <a:pt x="800062" y="617937"/>
                </a:lnTo>
                <a:lnTo>
                  <a:pt x="790432" y="665100"/>
                </a:lnTo>
                <a:lnTo>
                  <a:pt x="774905" y="709794"/>
                </a:lnTo>
                <a:lnTo>
                  <a:pt x="753908" y="751594"/>
                </a:lnTo>
                <a:lnTo>
                  <a:pt x="727869" y="790073"/>
                </a:lnTo>
                <a:lnTo>
                  <a:pt x="697215" y="824804"/>
                </a:lnTo>
                <a:lnTo>
                  <a:pt x="662375" y="855362"/>
                </a:lnTo>
                <a:lnTo>
                  <a:pt x="623776" y="881320"/>
                </a:lnTo>
                <a:lnTo>
                  <a:pt x="581845" y="902252"/>
                </a:lnTo>
                <a:lnTo>
                  <a:pt x="537011" y="917731"/>
                </a:lnTo>
                <a:lnTo>
                  <a:pt x="489701" y="927331"/>
                </a:lnTo>
                <a:lnTo>
                  <a:pt x="440342" y="930626"/>
                </a:lnTo>
                <a:lnTo>
                  <a:pt x="690569" y="930626"/>
                </a:lnTo>
                <a:lnTo>
                  <a:pt x="724614" y="905147"/>
                </a:lnTo>
                <a:lnTo>
                  <a:pt x="758383" y="873900"/>
                </a:lnTo>
                <a:lnTo>
                  <a:pt x="789072" y="838840"/>
                </a:lnTo>
                <a:lnTo>
                  <a:pt x="816333" y="800086"/>
                </a:lnTo>
                <a:lnTo>
                  <a:pt x="839267" y="758666"/>
                </a:lnTo>
                <a:lnTo>
                  <a:pt x="857251" y="715781"/>
                </a:lnTo>
                <a:lnTo>
                  <a:pt x="870353" y="671802"/>
                </a:lnTo>
                <a:lnTo>
                  <a:pt x="878639" y="627100"/>
                </a:lnTo>
                <a:lnTo>
                  <a:pt x="882177" y="582044"/>
                </a:lnTo>
                <a:lnTo>
                  <a:pt x="881034" y="537006"/>
                </a:lnTo>
                <a:lnTo>
                  <a:pt x="875277" y="492357"/>
                </a:lnTo>
                <a:lnTo>
                  <a:pt x="864974" y="448466"/>
                </a:lnTo>
                <a:lnTo>
                  <a:pt x="850192" y="405705"/>
                </a:lnTo>
                <a:lnTo>
                  <a:pt x="830998" y="364444"/>
                </a:lnTo>
                <a:lnTo>
                  <a:pt x="807459" y="325054"/>
                </a:lnTo>
                <a:lnTo>
                  <a:pt x="779643" y="287905"/>
                </a:lnTo>
                <a:lnTo>
                  <a:pt x="747617" y="253368"/>
                </a:lnTo>
                <a:lnTo>
                  <a:pt x="786513" y="214594"/>
                </a:lnTo>
                <a:lnTo>
                  <a:pt x="791344" y="206839"/>
                </a:lnTo>
                <a:close/>
              </a:path>
              <a:path w="882650" h="1007745">
                <a:moveTo>
                  <a:pt x="758476" y="149001"/>
                </a:moveTo>
                <a:lnTo>
                  <a:pt x="743829" y="151222"/>
                </a:lnTo>
                <a:lnTo>
                  <a:pt x="730762" y="159017"/>
                </a:lnTo>
                <a:lnTo>
                  <a:pt x="686681" y="204254"/>
                </a:lnTo>
                <a:lnTo>
                  <a:pt x="792955" y="204254"/>
                </a:lnTo>
                <a:lnTo>
                  <a:pt x="794515" y="201750"/>
                </a:lnTo>
                <a:lnTo>
                  <a:pt x="797047" y="187452"/>
                </a:lnTo>
                <a:lnTo>
                  <a:pt x="793988" y="173154"/>
                </a:lnTo>
                <a:lnTo>
                  <a:pt x="785216" y="160310"/>
                </a:lnTo>
                <a:lnTo>
                  <a:pt x="772879" y="152111"/>
                </a:lnTo>
                <a:lnTo>
                  <a:pt x="758476" y="149001"/>
                </a:lnTo>
                <a:close/>
              </a:path>
              <a:path w="882650" h="1007745">
                <a:moveTo>
                  <a:pt x="595924" y="0"/>
                </a:moveTo>
                <a:lnTo>
                  <a:pt x="284760" y="0"/>
                </a:lnTo>
                <a:lnTo>
                  <a:pt x="284760" y="77591"/>
                </a:lnTo>
                <a:lnTo>
                  <a:pt x="595924" y="77591"/>
                </a:lnTo>
                <a:lnTo>
                  <a:pt x="595924" y="0"/>
                </a:lnTo>
                <a:close/>
              </a:path>
            </a:pathLst>
          </a:custGeom>
          <a:solidFill>
            <a:srgbClr val="66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4" name="Group 43">
            <a:extLst>
              <a:ext uri="{FF2B5EF4-FFF2-40B4-BE49-F238E27FC236}">
                <a16:creationId xmlns:a16="http://schemas.microsoft.com/office/drawing/2014/main" id="{49E6E992-D3D8-1380-634F-DF24099B1ADA}"/>
              </a:ext>
            </a:extLst>
          </p:cNvPr>
          <p:cNvGrpSpPr/>
          <p:nvPr/>
        </p:nvGrpSpPr>
        <p:grpSpPr>
          <a:xfrm>
            <a:off x="8023859" y="2602103"/>
            <a:ext cx="674370" cy="1085722"/>
            <a:chOff x="5605518" y="2593662"/>
            <a:chExt cx="674370" cy="1085722"/>
          </a:xfrm>
        </p:grpSpPr>
        <p:grpSp>
          <p:nvGrpSpPr>
            <p:cNvPr id="43" name="Group 42">
              <a:extLst>
                <a:ext uri="{FF2B5EF4-FFF2-40B4-BE49-F238E27FC236}">
                  <a16:creationId xmlns:a16="http://schemas.microsoft.com/office/drawing/2014/main" id="{F31F73D6-39F7-D4D9-0DC6-6634D5768A2A}"/>
                </a:ext>
              </a:extLst>
            </p:cNvPr>
            <p:cNvGrpSpPr/>
            <p:nvPr/>
          </p:nvGrpSpPr>
          <p:grpSpPr>
            <a:xfrm>
              <a:off x="5774065" y="3343342"/>
              <a:ext cx="337185" cy="336042"/>
              <a:chOff x="5774065" y="3343342"/>
              <a:chExt cx="337185" cy="336042"/>
            </a:xfrm>
          </p:grpSpPr>
          <p:sp>
            <p:nvSpPr>
              <p:cNvPr id="35" name="object 34">
                <a:extLst>
                  <a:ext uri="{FF2B5EF4-FFF2-40B4-BE49-F238E27FC236}">
                    <a16:creationId xmlns:a16="http://schemas.microsoft.com/office/drawing/2014/main" id="{CAECCA9E-96D3-D427-1073-C8A9E1A725F7}"/>
                  </a:ext>
                </a:extLst>
              </p:cNvPr>
              <p:cNvSpPr/>
              <p:nvPr/>
            </p:nvSpPr>
            <p:spPr>
              <a:xfrm>
                <a:off x="5774065" y="3343342"/>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5">
                <a:extLst>
                  <a:ext uri="{FF2B5EF4-FFF2-40B4-BE49-F238E27FC236}">
                    <a16:creationId xmlns:a16="http://schemas.microsoft.com/office/drawing/2014/main" id="{AE2D615C-6866-47D0-2EB3-06EAC3F3C156}"/>
                  </a:ext>
                </a:extLst>
              </p:cNvPr>
              <p:cNvSpPr/>
              <p:nvPr/>
            </p:nvSpPr>
            <p:spPr>
              <a:xfrm>
                <a:off x="5774065" y="3472589"/>
                <a:ext cx="337185" cy="78105"/>
              </a:xfrm>
              <a:custGeom>
                <a:avLst/>
                <a:gdLst/>
                <a:ahLst/>
                <a:cxnLst/>
                <a:rect l="l" t="t" r="r" b="b"/>
                <a:pathLst>
                  <a:path w="337185" h="78104">
                    <a:moveTo>
                      <a:pt x="298199" y="0"/>
                    </a:moveTo>
                    <a:lnTo>
                      <a:pt x="38895" y="0"/>
                    </a:lnTo>
                    <a:lnTo>
                      <a:pt x="23519" y="2968"/>
                    </a:lnTo>
                    <a:lnTo>
                      <a:pt x="11182" y="11147"/>
                    </a:lnTo>
                    <a:lnTo>
                      <a:pt x="2977" y="23446"/>
                    </a:lnTo>
                    <a:lnTo>
                      <a:pt x="0" y="38774"/>
                    </a:lnTo>
                    <a:lnTo>
                      <a:pt x="2977" y="54102"/>
                    </a:lnTo>
                    <a:lnTo>
                      <a:pt x="11182" y="66400"/>
                    </a:lnTo>
                    <a:lnTo>
                      <a:pt x="23519" y="74579"/>
                    </a:lnTo>
                    <a:lnTo>
                      <a:pt x="38895" y="77548"/>
                    </a:lnTo>
                    <a:lnTo>
                      <a:pt x="298199" y="77548"/>
                    </a:lnTo>
                    <a:lnTo>
                      <a:pt x="313575" y="74579"/>
                    </a:lnTo>
                    <a:lnTo>
                      <a:pt x="325912" y="66400"/>
                    </a:lnTo>
                    <a:lnTo>
                      <a:pt x="334117" y="54102"/>
                    </a:lnTo>
                    <a:lnTo>
                      <a:pt x="337094" y="38774"/>
                    </a:lnTo>
                    <a:lnTo>
                      <a:pt x="334117" y="23446"/>
                    </a:lnTo>
                    <a:lnTo>
                      <a:pt x="325912" y="11147"/>
                    </a:lnTo>
                    <a:lnTo>
                      <a:pt x="313575" y="2968"/>
                    </a:lnTo>
                    <a:lnTo>
                      <a:pt x="298199" y="0"/>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6">
                <a:extLst>
                  <a:ext uri="{FF2B5EF4-FFF2-40B4-BE49-F238E27FC236}">
                    <a16:creationId xmlns:a16="http://schemas.microsoft.com/office/drawing/2014/main" id="{28CBBB21-9655-F819-F3D4-A6BE9E9B297F}"/>
                  </a:ext>
                </a:extLst>
              </p:cNvPr>
              <p:cNvSpPr/>
              <p:nvPr/>
            </p:nvSpPr>
            <p:spPr>
              <a:xfrm>
                <a:off x="5858339" y="3601837"/>
                <a:ext cx="168547" cy="77547"/>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8" name="object 37">
              <a:extLst>
                <a:ext uri="{FF2B5EF4-FFF2-40B4-BE49-F238E27FC236}">
                  <a16:creationId xmlns:a16="http://schemas.microsoft.com/office/drawing/2014/main" id="{B43AF93D-A935-58E9-7C37-595C70036A06}"/>
                </a:ext>
              </a:extLst>
            </p:cNvPr>
            <p:cNvSpPr/>
            <p:nvPr/>
          </p:nvSpPr>
          <p:spPr>
            <a:xfrm>
              <a:off x="5605518" y="2593662"/>
              <a:ext cx="674370" cy="698500"/>
            </a:xfrm>
            <a:custGeom>
              <a:avLst/>
              <a:gdLst/>
              <a:ahLst/>
              <a:cxnLst/>
              <a:rect l="l" t="t" r="r" b="b"/>
              <a:pathLst>
                <a:path w="674370" h="698500">
                  <a:moveTo>
                    <a:pt x="337094" y="0"/>
                  </a:moveTo>
                  <a:lnTo>
                    <a:pt x="287835" y="3892"/>
                  </a:lnTo>
                  <a:lnTo>
                    <a:pt x="240807" y="14532"/>
                  </a:lnTo>
                  <a:lnTo>
                    <a:pt x="196509" y="31426"/>
                  </a:lnTo>
                  <a:lnTo>
                    <a:pt x="155438" y="54077"/>
                  </a:lnTo>
                  <a:lnTo>
                    <a:pt x="118089" y="81990"/>
                  </a:lnTo>
                  <a:lnTo>
                    <a:pt x="84960" y="114669"/>
                  </a:lnTo>
                  <a:lnTo>
                    <a:pt x="56548" y="151618"/>
                  </a:lnTo>
                  <a:lnTo>
                    <a:pt x="33349" y="192343"/>
                  </a:lnTo>
                  <a:lnTo>
                    <a:pt x="15860" y="236346"/>
                  </a:lnTo>
                  <a:lnTo>
                    <a:pt x="4578" y="283134"/>
                  </a:lnTo>
                  <a:lnTo>
                    <a:pt x="0" y="332209"/>
                  </a:lnTo>
                  <a:lnTo>
                    <a:pt x="0" y="343841"/>
                  </a:lnTo>
                  <a:lnTo>
                    <a:pt x="6806" y="402972"/>
                  </a:lnTo>
                  <a:lnTo>
                    <a:pt x="23337" y="460164"/>
                  </a:lnTo>
                  <a:lnTo>
                    <a:pt x="48619" y="510409"/>
                  </a:lnTo>
                  <a:lnTo>
                    <a:pt x="81680" y="555808"/>
                  </a:lnTo>
                  <a:lnTo>
                    <a:pt x="105159" y="585979"/>
                  </a:lnTo>
                  <a:lnTo>
                    <a:pt x="127545" y="621724"/>
                  </a:lnTo>
                  <a:lnTo>
                    <a:pt x="146770" y="656500"/>
                  </a:lnTo>
                  <a:lnTo>
                    <a:pt x="160768" y="683763"/>
                  </a:lnTo>
                  <a:lnTo>
                    <a:pt x="164597" y="689801"/>
                  </a:lnTo>
                  <a:lnTo>
                    <a:pt x="170006" y="694264"/>
                  </a:lnTo>
                  <a:lnTo>
                    <a:pt x="176630" y="697031"/>
                  </a:lnTo>
                  <a:lnTo>
                    <a:pt x="184105" y="697980"/>
                  </a:lnTo>
                  <a:lnTo>
                    <a:pt x="490084" y="697980"/>
                  </a:lnTo>
                  <a:lnTo>
                    <a:pt x="527419" y="656500"/>
                  </a:lnTo>
                  <a:lnTo>
                    <a:pt x="546644" y="621724"/>
                  </a:lnTo>
                  <a:lnTo>
                    <a:pt x="547454" y="620431"/>
                  </a:lnTo>
                  <a:lnTo>
                    <a:pt x="216518" y="620431"/>
                  </a:lnTo>
                  <a:lnTo>
                    <a:pt x="200028" y="589897"/>
                  </a:lnTo>
                  <a:lnTo>
                    <a:pt x="181836" y="560331"/>
                  </a:lnTo>
                  <a:lnTo>
                    <a:pt x="162186" y="531735"/>
                  </a:lnTo>
                  <a:lnTo>
                    <a:pt x="141320" y="504108"/>
                  </a:lnTo>
                  <a:lnTo>
                    <a:pt x="128233" y="487912"/>
                  </a:lnTo>
                  <a:lnTo>
                    <a:pt x="116362" y="470504"/>
                  </a:lnTo>
                  <a:lnTo>
                    <a:pt x="97238" y="433022"/>
                  </a:lnTo>
                  <a:lnTo>
                    <a:pt x="84273" y="388755"/>
                  </a:lnTo>
                  <a:lnTo>
                    <a:pt x="79184" y="343841"/>
                  </a:lnTo>
                  <a:lnTo>
                    <a:pt x="79087" y="332209"/>
                  </a:lnTo>
                  <a:lnTo>
                    <a:pt x="84010" y="286370"/>
                  </a:lnTo>
                  <a:lnTo>
                    <a:pt x="96573" y="243241"/>
                  </a:lnTo>
                  <a:lnTo>
                    <a:pt x="116062" y="203525"/>
                  </a:lnTo>
                  <a:lnTo>
                    <a:pt x="141761" y="167924"/>
                  </a:lnTo>
                  <a:lnTo>
                    <a:pt x="172956" y="137142"/>
                  </a:lnTo>
                  <a:lnTo>
                    <a:pt x="208931" y="111882"/>
                  </a:lnTo>
                  <a:lnTo>
                    <a:pt x="248972" y="92845"/>
                  </a:lnTo>
                  <a:lnTo>
                    <a:pt x="292364" y="80736"/>
                  </a:lnTo>
                  <a:lnTo>
                    <a:pt x="338391" y="76256"/>
                  </a:lnTo>
                  <a:lnTo>
                    <a:pt x="548427" y="76256"/>
                  </a:lnTo>
                  <a:lnTo>
                    <a:pt x="518751" y="54077"/>
                  </a:lnTo>
                  <a:lnTo>
                    <a:pt x="477680" y="31426"/>
                  </a:lnTo>
                  <a:lnTo>
                    <a:pt x="433382" y="14532"/>
                  </a:lnTo>
                  <a:lnTo>
                    <a:pt x="386354" y="3892"/>
                  </a:lnTo>
                  <a:lnTo>
                    <a:pt x="337094" y="0"/>
                  </a:lnTo>
                  <a:close/>
                </a:path>
                <a:path w="674370" h="698500">
                  <a:moveTo>
                    <a:pt x="548427" y="76256"/>
                  </a:moveTo>
                  <a:lnTo>
                    <a:pt x="338391" y="76256"/>
                  </a:lnTo>
                  <a:lnTo>
                    <a:pt x="384418" y="80693"/>
                  </a:lnTo>
                  <a:lnTo>
                    <a:pt x="427810" y="92696"/>
                  </a:lnTo>
                  <a:lnTo>
                    <a:pt x="467851" y="111594"/>
                  </a:lnTo>
                  <a:lnTo>
                    <a:pt x="503826" y="136717"/>
                  </a:lnTo>
                  <a:lnTo>
                    <a:pt x="535021" y="167392"/>
                  </a:lnTo>
                  <a:lnTo>
                    <a:pt x="560720" y="202950"/>
                  </a:lnTo>
                  <a:lnTo>
                    <a:pt x="580209" y="242720"/>
                  </a:lnTo>
                  <a:lnTo>
                    <a:pt x="592772" y="286029"/>
                  </a:lnTo>
                  <a:lnTo>
                    <a:pt x="597695" y="332209"/>
                  </a:lnTo>
                  <a:lnTo>
                    <a:pt x="597695" y="342549"/>
                  </a:lnTo>
                  <a:lnTo>
                    <a:pt x="596398" y="342549"/>
                  </a:lnTo>
                  <a:lnTo>
                    <a:pt x="594474" y="365773"/>
                  </a:lnTo>
                  <a:lnTo>
                    <a:pt x="585277" y="411252"/>
                  </a:lnTo>
                  <a:lnTo>
                    <a:pt x="569718" y="452127"/>
                  </a:lnTo>
                  <a:lnTo>
                    <a:pt x="547799" y="487912"/>
                  </a:lnTo>
                  <a:lnTo>
                    <a:pt x="534165" y="504108"/>
                  </a:lnTo>
                  <a:lnTo>
                    <a:pt x="512570" y="531735"/>
                  </a:lnTo>
                  <a:lnTo>
                    <a:pt x="492677" y="560331"/>
                  </a:lnTo>
                  <a:lnTo>
                    <a:pt x="474728" y="589897"/>
                  </a:lnTo>
                  <a:lnTo>
                    <a:pt x="458967" y="620431"/>
                  </a:lnTo>
                  <a:lnTo>
                    <a:pt x="547454" y="620431"/>
                  </a:lnTo>
                  <a:lnTo>
                    <a:pt x="569030" y="585979"/>
                  </a:lnTo>
                  <a:lnTo>
                    <a:pt x="592509" y="555808"/>
                  </a:lnTo>
                  <a:lnTo>
                    <a:pt x="626056" y="510409"/>
                  </a:lnTo>
                  <a:lnTo>
                    <a:pt x="650852" y="460164"/>
                  </a:lnTo>
                  <a:lnTo>
                    <a:pt x="667383" y="402972"/>
                  </a:lnTo>
                  <a:lnTo>
                    <a:pt x="674189" y="343841"/>
                  </a:lnTo>
                  <a:lnTo>
                    <a:pt x="674189" y="332209"/>
                  </a:lnTo>
                  <a:lnTo>
                    <a:pt x="669611" y="283134"/>
                  </a:lnTo>
                  <a:lnTo>
                    <a:pt x="658329" y="236346"/>
                  </a:lnTo>
                  <a:lnTo>
                    <a:pt x="640840" y="192343"/>
                  </a:lnTo>
                  <a:lnTo>
                    <a:pt x="617641" y="151618"/>
                  </a:lnTo>
                  <a:lnTo>
                    <a:pt x="589229" y="114669"/>
                  </a:lnTo>
                  <a:lnTo>
                    <a:pt x="556100" y="81990"/>
                  </a:lnTo>
                  <a:lnTo>
                    <a:pt x="548427" y="76256"/>
                  </a:lnTo>
                  <a:close/>
                </a:path>
              </a:pathLst>
            </a:custGeom>
            <a:solidFill>
              <a:srgbClr val="C5B8A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5" name="Group 44">
            <a:extLst>
              <a:ext uri="{FF2B5EF4-FFF2-40B4-BE49-F238E27FC236}">
                <a16:creationId xmlns:a16="http://schemas.microsoft.com/office/drawing/2014/main" id="{27C0CE75-6C35-B8FC-2E4A-69661D7A73C2}"/>
              </a:ext>
            </a:extLst>
          </p:cNvPr>
          <p:cNvGrpSpPr/>
          <p:nvPr/>
        </p:nvGrpSpPr>
        <p:grpSpPr>
          <a:xfrm>
            <a:off x="5465362" y="2685289"/>
            <a:ext cx="882100" cy="840062"/>
            <a:chOff x="7938672" y="2696853"/>
            <a:chExt cx="882100" cy="840062"/>
          </a:xfrm>
        </p:grpSpPr>
        <p:sp>
          <p:nvSpPr>
            <p:cNvPr id="39" name="object 38">
              <a:extLst>
                <a:ext uri="{FF2B5EF4-FFF2-40B4-BE49-F238E27FC236}">
                  <a16:creationId xmlns:a16="http://schemas.microsoft.com/office/drawing/2014/main" id="{25B54138-A50D-4906-976B-1B955A9CAEF0}"/>
                </a:ext>
              </a:extLst>
            </p:cNvPr>
            <p:cNvSpPr/>
            <p:nvPr/>
          </p:nvSpPr>
          <p:spPr>
            <a:xfrm>
              <a:off x="7938672" y="3536915"/>
              <a:ext cx="882015" cy="0"/>
            </a:xfrm>
            <a:custGeom>
              <a:avLst/>
              <a:gdLst/>
              <a:ahLst/>
              <a:cxnLst/>
              <a:rect l="l" t="t" r="r" b="b"/>
              <a:pathLst>
                <a:path w="882015">
                  <a:moveTo>
                    <a:pt x="0" y="0"/>
                  </a:moveTo>
                  <a:lnTo>
                    <a:pt x="881633" y="0"/>
                  </a:lnTo>
                </a:path>
              </a:pathLst>
            </a:custGeom>
            <a:ln w="77349">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39">
              <a:extLst>
                <a:ext uri="{FF2B5EF4-FFF2-40B4-BE49-F238E27FC236}">
                  <a16:creationId xmlns:a16="http://schemas.microsoft.com/office/drawing/2014/main" id="{220BE648-46A4-BD01-5054-1FAA77E7AC3B}"/>
                </a:ext>
              </a:extLst>
            </p:cNvPr>
            <p:cNvSpPr/>
            <p:nvPr/>
          </p:nvSpPr>
          <p:spPr>
            <a:xfrm>
              <a:off x="7977568" y="2696853"/>
              <a:ext cx="0" cy="802005"/>
            </a:xfrm>
            <a:custGeom>
              <a:avLst/>
              <a:gdLst/>
              <a:ahLst/>
              <a:cxnLst/>
              <a:rect l="l" t="t" r="r" b="b"/>
              <a:pathLst>
                <a:path h="802004">
                  <a:moveTo>
                    <a:pt x="0" y="0"/>
                  </a:moveTo>
                  <a:lnTo>
                    <a:pt x="0" y="801386"/>
                  </a:lnTo>
                </a:path>
              </a:pathLst>
            </a:custGeom>
            <a:ln w="77791">
              <a:solidFill>
                <a:srgbClr val="99999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0">
              <a:extLst>
                <a:ext uri="{FF2B5EF4-FFF2-40B4-BE49-F238E27FC236}">
                  <a16:creationId xmlns:a16="http://schemas.microsoft.com/office/drawing/2014/main" id="{A3CAF075-9ED8-91A3-26B0-B9DE0B0BC691}"/>
                </a:ext>
              </a:extLst>
            </p:cNvPr>
            <p:cNvSpPr/>
            <p:nvPr/>
          </p:nvSpPr>
          <p:spPr>
            <a:xfrm>
              <a:off x="8067027" y="2916824"/>
              <a:ext cx="753745" cy="441325"/>
            </a:xfrm>
            <a:custGeom>
              <a:avLst/>
              <a:gdLst/>
              <a:ahLst/>
              <a:cxnLst/>
              <a:rect l="l" t="t" r="r" b="b"/>
              <a:pathLst>
                <a:path w="753745" h="441325">
                  <a:moveTo>
                    <a:pt x="234669" y="152512"/>
                  </a:moveTo>
                  <a:lnTo>
                    <a:pt x="0" y="386450"/>
                  </a:lnTo>
                  <a:lnTo>
                    <a:pt x="54453" y="440734"/>
                  </a:lnTo>
                  <a:lnTo>
                    <a:pt x="234669" y="261080"/>
                  </a:lnTo>
                  <a:lnTo>
                    <a:pt x="390252" y="261080"/>
                  </a:lnTo>
                  <a:lnTo>
                    <a:pt x="421368" y="230060"/>
                  </a:lnTo>
                  <a:lnTo>
                    <a:pt x="312461" y="230060"/>
                  </a:lnTo>
                  <a:lnTo>
                    <a:pt x="234669" y="152512"/>
                  </a:lnTo>
                  <a:close/>
                </a:path>
                <a:path w="753745" h="441325">
                  <a:moveTo>
                    <a:pt x="390252" y="261080"/>
                  </a:moveTo>
                  <a:lnTo>
                    <a:pt x="234669" y="261080"/>
                  </a:lnTo>
                  <a:lnTo>
                    <a:pt x="312461" y="338628"/>
                  </a:lnTo>
                  <a:lnTo>
                    <a:pt x="390252" y="261080"/>
                  </a:lnTo>
                  <a:close/>
                </a:path>
                <a:path w="753745" h="441325">
                  <a:moveTo>
                    <a:pt x="597695" y="209381"/>
                  </a:moveTo>
                  <a:lnTo>
                    <a:pt x="442113" y="209381"/>
                  </a:lnTo>
                  <a:lnTo>
                    <a:pt x="519904" y="286929"/>
                  </a:lnTo>
                  <a:lnTo>
                    <a:pt x="597695" y="209381"/>
                  </a:lnTo>
                  <a:close/>
                </a:path>
                <a:path w="753745" h="441325">
                  <a:moveTo>
                    <a:pt x="442113" y="100813"/>
                  </a:moveTo>
                  <a:lnTo>
                    <a:pt x="312461" y="230060"/>
                  </a:lnTo>
                  <a:lnTo>
                    <a:pt x="421368" y="230060"/>
                  </a:lnTo>
                  <a:lnTo>
                    <a:pt x="442113" y="209381"/>
                  </a:lnTo>
                  <a:lnTo>
                    <a:pt x="597695" y="209381"/>
                  </a:lnTo>
                  <a:lnTo>
                    <a:pt x="628811" y="178361"/>
                  </a:lnTo>
                  <a:lnTo>
                    <a:pt x="519904" y="178361"/>
                  </a:lnTo>
                  <a:lnTo>
                    <a:pt x="442113" y="100813"/>
                  </a:lnTo>
                  <a:close/>
                </a:path>
                <a:path w="753745" h="441325">
                  <a:moveTo>
                    <a:pt x="753277" y="130540"/>
                  </a:moveTo>
                  <a:lnTo>
                    <a:pt x="676783" y="130540"/>
                  </a:lnTo>
                  <a:lnTo>
                    <a:pt x="753277" y="206796"/>
                  </a:lnTo>
                  <a:lnTo>
                    <a:pt x="753277" y="130540"/>
                  </a:lnTo>
                  <a:close/>
                </a:path>
                <a:path w="753745" h="441325">
                  <a:moveTo>
                    <a:pt x="753277" y="0"/>
                  </a:moveTo>
                  <a:lnTo>
                    <a:pt x="545834" y="0"/>
                  </a:lnTo>
                  <a:lnTo>
                    <a:pt x="622329" y="76256"/>
                  </a:lnTo>
                  <a:lnTo>
                    <a:pt x="519904" y="178361"/>
                  </a:lnTo>
                  <a:lnTo>
                    <a:pt x="628811" y="178361"/>
                  </a:lnTo>
                  <a:lnTo>
                    <a:pt x="676783" y="130540"/>
                  </a:lnTo>
                  <a:lnTo>
                    <a:pt x="753277" y="130540"/>
                  </a:lnTo>
                  <a:lnTo>
                    <a:pt x="753277" y="0"/>
                  </a:lnTo>
                  <a:close/>
                </a:path>
              </a:pathLst>
            </a:custGeom>
            <a:solidFill>
              <a:srgbClr val="99999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84929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94CA8-E7B8-8516-BF65-7B8FD4E10FDE}"/>
              </a:ext>
            </a:extLst>
          </p:cNvPr>
          <p:cNvSpPr txBox="1">
            <a:spLocks/>
          </p:cNvSpPr>
          <p:nvPr/>
        </p:nvSpPr>
        <p:spPr bwMode="gray">
          <a:xfrm>
            <a:off x="1952077" y="2387279"/>
            <a:ext cx="8287845" cy="2314936"/>
          </a:xfrm>
          <a:prstGeom prst="rect">
            <a:avLst/>
          </a:prstGeom>
        </p:spPr>
        <p:txBody>
          <a:bodyPr vert="horz" lIns="91440" tIns="45720" rIns="91440" bIns="45720" rtlCol="0" anchor="b" anchorCtr="0">
            <a:noAutofit/>
          </a:bodyPr>
          <a:lstStyle>
            <a:lvl1pPr algn="l" defTabSz="914400" rtl="0" eaLnBrk="1" latinLnBrk="0" hangingPunct="1">
              <a:lnSpc>
                <a:spcPts val="3200"/>
              </a:lnSpc>
              <a:spcBef>
                <a:spcPct val="0"/>
              </a:spcBef>
              <a:buNone/>
              <a:defRPr sz="3200" b="0" kern="120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lnSpc>
                <a:spcPct val="100000"/>
              </a:lnSpc>
            </a:pPr>
            <a:r>
              <a:rPr lang="en-US" sz="6600">
                <a:solidFill>
                  <a:schemeClr val="tx1"/>
                </a:solidFill>
                <a:latin typeface="+mn-lt"/>
              </a:rPr>
              <a:t>Best Machine Learning Model: XG Boost Classifier </a:t>
            </a:r>
          </a:p>
        </p:txBody>
      </p:sp>
      <p:pic>
        <p:nvPicPr>
          <p:cNvPr id="5" name="Graphic 4" descr="Statistics outline">
            <a:extLst>
              <a:ext uri="{FF2B5EF4-FFF2-40B4-BE49-F238E27FC236}">
                <a16:creationId xmlns:a16="http://schemas.microsoft.com/office/drawing/2014/main" id="{D480190C-5F52-3BC9-2042-4BF2960DB1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0233" y="2687255"/>
            <a:ext cx="4562354" cy="4562354"/>
          </a:xfrm>
          <a:prstGeom prst="rect">
            <a:avLst/>
          </a:prstGeom>
        </p:spPr>
      </p:pic>
    </p:spTree>
    <p:extLst>
      <p:ext uri="{BB962C8B-B14F-4D97-AF65-F5344CB8AC3E}">
        <p14:creationId xmlns:p14="http://schemas.microsoft.com/office/powerpoint/2010/main" val="3187155720"/>
      </p:ext>
    </p:extLst>
  </p:cSld>
  <p:clrMapOvr>
    <a:masterClrMapping/>
  </p:clrMapOvr>
  <p:transition>
    <p:fade/>
  </p:transition>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00</Words>
  <Application>Microsoft Office PowerPoint</Application>
  <PresentationFormat>Widescreen</PresentationFormat>
  <Paragraphs>133</Paragraphs>
  <Slides>16</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Calibri Light</vt:lpstr>
      <vt:lpstr>Open Sans Light</vt:lpstr>
      <vt:lpstr>Wingdings 2</vt:lpstr>
      <vt:lpstr>Office Theme</vt:lpstr>
      <vt:lpstr>think-cell Slide</vt:lpstr>
      <vt:lpstr>PowerPoint Presentation</vt:lpstr>
      <vt:lpstr>Agenda</vt:lpstr>
      <vt:lpstr>Dream Housing Finance Company Overview</vt:lpstr>
      <vt:lpstr>PowerPoint Presentation</vt:lpstr>
      <vt:lpstr>PowerPoint Presentation</vt:lpstr>
      <vt:lpstr>EDA and Data Cleaning</vt:lpstr>
      <vt:lpstr>PowerPoint Presentation</vt:lpstr>
      <vt:lpstr>Initial Modeling Approaches</vt:lpstr>
      <vt:lpstr>PowerPoint Presentation</vt:lpstr>
      <vt:lpstr>PowerPoint Presentation</vt:lpstr>
      <vt:lpstr>Results – Heavily Impacted Loan Features</vt:lpstr>
      <vt:lpstr>Deeper Dive Into Results</vt:lpstr>
      <vt:lpstr>Deeper Dive Into Results</vt:lpstr>
      <vt:lpstr>Deeper Dive Into Result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wswanger, Reagan</dc:creator>
  <cp:lastModifiedBy>Waseem, Zeejah</cp:lastModifiedBy>
  <cp:revision>3</cp:revision>
  <cp:lastPrinted>2024-01-16T14:04:47Z</cp:lastPrinted>
  <dcterms:created xsi:type="dcterms:W3CDTF">2023-12-20T17:14:40Z</dcterms:created>
  <dcterms:modified xsi:type="dcterms:W3CDTF">2024-01-18T18:2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2-20T17:14:4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c4082cf-11d0-4824-bfa5-f1e99aa0ca72</vt:lpwstr>
  </property>
  <property fmtid="{D5CDD505-2E9C-101B-9397-08002B2CF9AE}" pid="8" name="MSIP_Label_ea60d57e-af5b-4752-ac57-3e4f28ca11dc_ContentBits">
    <vt:lpwstr>0</vt:lpwstr>
  </property>
</Properties>
</file>